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761" r:id="rId2"/>
  </p:sldMasterIdLst>
  <p:notesMasterIdLst>
    <p:notesMasterId r:id="rId7"/>
  </p:notesMasterIdLst>
  <p:handoutMasterIdLst>
    <p:handoutMasterId r:id="rId8"/>
  </p:handoutMasterIdLst>
  <p:sldIdLst>
    <p:sldId id="315" r:id="rId3"/>
    <p:sldId id="365" r:id="rId4"/>
    <p:sldId id="363" r:id="rId5"/>
    <p:sldId id="362" r:id="rId6"/>
  </p:sldIdLst>
  <p:sldSz cx="12192000" cy="6858000"/>
  <p:notesSz cx="9874250" cy="6797675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1BC5C"/>
    <a:srgbClr val="9AC97D"/>
    <a:srgbClr val="00BC55"/>
    <a:srgbClr val="75B44A"/>
    <a:srgbClr val="7CB953"/>
    <a:srgbClr val="87BF65"/>
    <a:srgbClr val="E4E4E4"/>
    <a:srgbClr val="F0F0F0"/>
    <a:srgbClr val="E6E6E6"/>
    <a:srgbClr val="E0E0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FECB4D8-DB02-4DC6-A0A2-4F2EBAE1DC90}" styleName="Средний стиль 1 -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8799B23B-EC83-4686-B30A-512413B5E67A}" styleName="Светлый стиль 3 -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A488322-F2BA-4B5B-9748-0D474271808F}" styleName="Средний стиль 3 - акцент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6D9F66E-5EB9-4882-86FB-DCBF35E3C3E4}" styleName="Средний стиль 4 -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68D230F3-CF80-4859-8CE7-A43EE81993B5}" styleName="Светлый стиль 1 - акцент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718" autoAdjust="0"/>
    <p:restoredTop sz="99176" autoAdjust="0"/>
  </p:normalViewPr>
  <p:slideViewPr>
    <p:cSldViewPr snapToGrid="0">
      <p:cViewPr varScale="1">
        <p:scale>
          <a:sx n="115" d="100"/>
          <a:sy n="115" d="100"/>
        </p:scale>
        <p:origin x="732" y="120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3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heme" Target="theme/theme1.xml"/><Relationship Id="rId5" Type="http://schemas.openxmlformats.org/officeDocument/2006/relationships/slide" Target="slides/slide3.xml"/><Relationship Id="rId10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200" b="1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dirty="0"/>
              <a:t>В рамках контрольных полномочий </a:t>
            </a:r>
          </a:p>
          <a:p>
            <a:pPr>
              <a:defRPr/>
            </a:pPr>
            <a:r>
              <a:rPr lang="ru-RU" dirty="0"/>
              <a:t>по ч. </a:t>
            </a:r>
            <a:r>
              <a:rPr lang="ru-RU" dirty="0" smtClean="0"/>
              <a:t>3 </a:t>
            </a:r>
            <a:r>
              <a:rPr lang="ru-RU" dirty="0"/>
              <a:t>ст. 99 Закона о контрактной системе 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200" b="1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view3D>
      <c:rotX val="5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В рамках контрольных полномочий по ч. 3 ст. 99 Закона о контрактной системе 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  <a:sp3d/>
            </c:spPr>
            <c:extLst>
              <c:ext xmlns:c16="http://schemas.microsoft.com/office/drawing/2014/chart" uri="{C3380CC4-5D6E-409C-BE32-E72D297353CC}">
                <c16:uniqueId val="{00000001-F87E-4CB8-8EB0-8D250A594281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  <a:sp3d/>
            </c:spPr>
            <c:extLst>
              <c:ext xmlns:c16="http://schemas.microsoft.com/office/drawing/2014/chart" uri="{C3380CC4-5D6E-409C-BE32-E72D297353CC}">
                <c16:uniqueId val="{00000003-F87E-4CB8-8EB0-8D250A594281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  <a:sp3d/>
            </c:spPr>
            <c:extLst>
              <c:ext xmlns:c16="http://schemas.microsoft.com/office/drawing/2014/chart" uri="{C3380CC4-5D6E-409C-BE32-E72D297353CC}">
                <c16:uniqueId val="{00000005-F87E-4CB8-8EB0-8D250A594281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  <a:sp3d/>
            </c:spPr>
            <c:extLst>
              <c:ext xmlns:c16="http://schemas.microsoft.com/office/drawing/2014/chart" uri="{C3380CC4-5D6E-409C-BE32-E72D297353CC}">
                <c16:uniqueId val="{00000007-F87E-4CB8-8EB0-8D250A594281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  <a:sp3d/>
            </c:spPr>
            <c:extLst>
              <c:ext xmlns:c16="http://schemas.microsoft.com/office/drawing/2014/chart" uri="{C3380CC4-5D6E-409C-BE32-E72D297353CC}">
                <c16:uniqueId val="{00000009-F87E-4CB8-8EB0-8D250A594281}"/>
              </c:ext>
            </c:extLst>
          </c:dPt>
          <c:dLbls>
            <c:spPr>
              <a:pattFill prst="pct75">
                <a:fgClr>
                  <a:schemeClr val="dk1">
                    <a:lumMod val="75000"/>
                    <a:lumOff val="25000"/>
                  </a:schemeClr>
                </a:fgClr>
                <a:bgClr>
                  <a:schemeClr val="dk1">
                    <a:lumMod val="65000"/>
                    <a:lumOff val="35000"/>
                  </a:schemeClr>
                </a:bgClr>
              </a:patt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33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dk1">
                      <a:lumMod val="50000"/>
                      <a:lumOff val="50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Лист1!$A$2:$A$6</c:f>
              <c:strCache>
                <c:ptCount val="5"/>
                <c:pt idx="0">
                  <c:v>Нарушение порядка ведения реестра контрактов </c:v>
                </c:pt>
                <c:pt idx="1">
                  <c:v>Утверждение документации о закупке с нарушением требований</c:v>
                </c:pt>
                <c:pt idx="2">
                  <c:v>Нарушение порядка подготовки отчета СМП и СОНО и срока его размещения в ЕИС</c:v>
                </c:pt>
                <c:pt idx="3">
                  <c:v>Нарушение требований к содержанию протокола, составленного в ходе определения поставщика (подрядчика, исполнителя)</c:v>
                </c:pt>
                <c:pt idx="4">
                  <c:v>Прочие нарушения</c:v>
                </c:pt>
              </c:strCache>
            </c:str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9</c:v>
                </c:pt>
                <c:pt idx="1">
                  <c:v>21</c:v>
                </c:pt>
                <c:pt idx="2">
                  <c:v>9</c:v>
                </c:pt>
                <c:pt idx="3">
                  <c:v>5</c:v>
                </c:pt>
                <c:pt idx="4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5F4-4C2A-9C32-48B13446C93C}"/>
            </c:ext>
          </c:extLst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</c:pie3D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2916670767716532"/>
          <c:y val="0.16486317870443659"/>
          <c:w val="0.34114579232283465"/>
          <c:h val="0.80451840263621621"/>
        </c:manualLayout>
      </c:layout>
      <c:overlay val="0"/>
      <c:spPr>
        <a:solidFill>
          <a:schemeClr val="lt1">
            <a:lumMod val="95000"/>
            <a:alpha val="39000"/>
          </a:schemeClr>
        </a:solidFill>
        <a:ln>
          <a:noFill/>
        </a:ln>
        <a:effectLst/>
      </c:spPr>
      <c:txPr>
        <a:bodyPr rot="0" spcFirstLastPara="1" vertOverflow="ellipsis" vert="horz" wrap="square" anchor="t" anchorCtr="1"/>
        <a:lstStyle/>
        <a:p>
          <a:pPr>
            <a:defRPr sz="1197" b="0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gradFill flip="none" rotWithShape="1">
      <a:gsLst>
        <a:gs pos="0">
          <a:schemeClr val="lt1"/>
        </a:gs>
        <a:gs pos="39000">
          <a:schemeClr val="lt1"/>
        </a:gs>
        <a:gs pos="100000">
          <a:schemeClr val="lt1">
            <a:lumMod val="75000"/>
          </a:schemeClr>
        </a:gs>
      </a:gsLst>
      <a:path path="circle">
        <a:fillToRect l="50000" t="-80000" r="50000" b="180000"/>
      </a:path>
      <a:tileRect/>
    </a:gradFill>
    <a:ln w="9525" cap="flat" cmpd="sng" algn="ctr">
      <a:solidFill>
        <a:schemeClr val="dk1">
          <a:lumMod val="25000"/>
          <a:lumOff val="75000"/>
        </a:schemeClr>
      </a:solidFill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200" b="1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dirty="0"/>
              <a:t>В рамках контрольных полномочий </a:t>
            </a:r>
            <a:endParaRPr lang="ru-RU" dirty="0" smtClean="0"/>
          </a:p>
          <a:p>
            <a:pPr>
              <a:defRPr/>
            </a:pPr>
            <a:r>
              <a:rPr lang="ru-RU" dirty="0" smtClean="0"/>
              <a:t>по </a:t>
            </a:r>
            <a:r>
              <a:rPr lang="ru-RU" dirty="0"/>
              <a:t>ч. 8 ст. 99 Закона о контрактной системе 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200" b="1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view3D>
      <c:rotX val="5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В рамках контрольных полномочий по ч. 8 ст. 99 Закона о контрактной системе 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  <a:sp3d/>
            </c:spPr>
            <c:extLst>
              <c:ext xmlns:c16="http://schemas.microsoft.com/office/drawing/2014/chart" uri="{C3380CC4-5D6E-409C-BE32-E72D297353CC}">
                <c16:uniqueId val="{00000001-E92D-4EE4-9803-6743E27C9DEE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  <a:sp3d/>
            </c:spPr>
            <c:extLst>
              <c:ext xmlns:c16="http://schemas.microsoft.com/office/drawing/2014/chart" uri="{C3380CC4-5D6E-409C-BE32-E72D297353CC}">
                <c16:uniqueId val="{00000003-E92D-4EE4-9803-6743E27C9DEE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  <a:sp3d/>
            </c:spPr>
            <c:extLst>
              <c:ext xmlns:c16="http://schemas.microsoft.com/office/drawing/2014/chart" uri="{C3380CC4-5D6E-409C-BE32-E72D297353CC}">
                <c16:uniqueId val="{00000005-E92D-4EE4-9803-6743E27C9DEE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  <a:sp3d/>
            </c:spPr>
            <c:extLst>
              <c:ext xmlns:c16="http://schemas.microsoft.com/office/drawing/2014/chart" uri="{C3380CC4-5D6E-409C-BE32-E72D297353CC}">
                <c16:uniqueId val="{00000007-E92D-4EE4-9803-6743E27C9DEE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  <a:sp3d/>
            </c:spPr>
            <c:extLst>
              <c:ext xmlns:c16="http://schemas.microsoft.com/office/drawing/2014/chart" uri="{C3380CC4-5D6E-409C-BE32-E72D297353CC}">
                <c16:uniqueId val="{00000009-E92D-4EE4-9803-6743E27C9DEE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  <a:sp3d/>
            </c:spPr>
            <c:extLst>
              <c:ext xmlns:c16="http://schemas.microsoft.com/office/drawing/2014/chart" uri="{C3380CC4-5D6E-409C-BE32-E72D297353CC}">
                <c16:uniqueId val="{0000000B-E92D-4EE4-9803-6743E27C9DEE}"/>
              </c:ext>
            </c:extLst>
          </c:dPt>
          <c:dLbls>
            <c:spPr>
              <a:pattFill prst="pct75">
                <a:fgClr>
                  <a:schemeClr val="dk1">
                    <a:lumMod val="75000"/>
                    <a:lumOff val="25000"/>
                  </a:schemeClr>
                </a:fgClr>
                <a:bgClr>
                  <a:schemeClr val="dk1">
                    <a:lumMod val="65000"/>
                    <a:lumOff val="35000"/>
                  </a:schemeClr>
                </a:bgClr>
              </a:patt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33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dk1">
                      <a:lumMod val="50000"/>
                      <a:lumOff val="50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Лист1!$A$2:$A$7</c:f>
              <c:strCache>
                <c:ptCount val="6"/>
                <c:pt idx="0">
                  <c:v>Нарушение обоснования закупок в соответствии со ст. 19 и ст. 22 Законв о контрактной системе</c:v>
                </c:pt>
                <c:pt idx="1">
                  <c:v>Нарушение правил нормирования</c:v>
                </c:pt>
                <c:pt idx="2">
                  <c:v>Нарушение срока оплаты по контрактам</c:v>
                </c:pt>
                <c:pt idx="3">
                  <c:v>Нарушение порядка начисления штрафов и пеней при исполнении контрактов</c:v>
                </c:pt>
                <c:pt idx="4">
                  <c:v>Нарушение  порядка определения Н(М)ЦК</c:v>
                </c:pt>
                <c:pt idx="5">
                  <c:v>Прочие нарушения</c:v>
                </c:pt>
              </c:strCache>
            </c:strRef>
          </c:cat>
          <c:val>
            <c:numRef>
              <c:f>Лист1!$B$2:$B$7</c:f>
              <c:numCache>
                <c:formatCode>General</c:formatCode>
                <c:ptCount val="6"/>
                <c:pt idx="0">
                  <c:v>8</c:v>
                </c:pt>
                <c:pt idx="1">
                  <c:v>11</c:v>
                </c:pt>
                <c:pt idx="2">
                  <c:v>10</c:v>
                </c:pt>
                <c:pt idx="3">
                  <c:v>4</c:v>
                </c:pt>
                <c:pt idx="4">
                  <c:v>5</c:v>
                </c:pt>
                <c:pt idx="5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5F4-4C2A-9C32-48B13446C93C}"/>
            </c:ext>
          </c:extLst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</c:pie3DChart>
      <c:spPr>
        <a:noFill/>
        <a:ln>
          <a:noFill/>
        </a:ln>
        <a:effectLst/>
      </c:spPr>
    </c:plotArea>
    <c:legend>
      <c:legendPos val="r"/>
      <c:layout/>
      <c:overlay val="0"/>
      <c:spPr>
        <a:solidFill>
          <a:schemeClr val="lt1">
            <a:lumMod val="95000"/>
            <a:alpha val="39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gradFill flip="none" rotWithShape="1">
      <a:gsLst>
        <a:gs pos="0">
          <a:schemeClr val="lt1"/>
        </a:gs>
        <a:gs pos="39000">
          <a:schemeClr val="lt1"/>
        </a:gs>
        <a:gs pos="100000">
          <a:schemeClr val="lt1">
            <a:lumMod val="75000"/>
          </a:schemeClr>
        </a:gs>
      </a:gsLst>
      <a:path path="circle">
        <a:fillToRect l="50000" t="-80000" r="50000" b="180000"/>
      </a:path>
      <a:tileRect/>
    </a:gradFill>
    <a:ln w="9525" cap="flat" cmpd="sng" algn="ctr">
      <a:solidFill>
        <a:schemeClr val="dk1">
          <a:lumMod val="25000"/>
          <a:lumOff val="75000"/>
        </a:schemeClr>
      </a:solidFill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64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64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0" y="6"/>
            <a:ext cx="4279846" cy="339723"/>
          </a:xfrm>
          <a:prstGeom prst="rect">
            <a:avLst/>
          </a:prstGeom>
        </p:spPr>
        <p:txBody>
          <a:bodyPr vert="horz" lIns="91425" tIns="45713" rIns="91425" bIns="45713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5592094" y="6"/>
            <a:ext cx="4279846" cy="339723"/>
          </a:xfrm>
          <a:prstGeom prst="rect">
            <a:avLst/>
          </a:prstGeom>
        </p:spPr>
        <p:txBody>
          <a:bodyPr vert="horz" lIns="91425" tIns="45713" rIns="91425" bIns="45713" rtlCol="0"/>
          <a:lstStyle>
            <a:lvl1pPr algn="r">
              <a:defRPr sz="1200"/>
            </a:lvl1pPr>
          </a:lstStyle>
          <a:p>
            <a:fld id="{BC203BD9-EB2E-4F57-962B-E469779CEFB7}" type="datetimeFigureOut">
              <a:rPr lang="ru-RU" smtClean="0"/>
              <a:pPr/>
              <a:t>07.09.2021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10" y="6456873"/>
            <a:ext cx="4279846" cy="339722"/>
          </a:xfrm>
          <a:prstGeom prst="rect">
            <a:avLst/>
          </a:prstGeom>
        </p:spPr>
        <p:txBody>
          <a:bodyPr vert="horz" lIns="91425" tIns="45713" rIns="91425" bIns="45713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5592094" y="6456873"/>
            <a:ext cx="4279846" cy="339722"/>
          </a:xfrm>
          <a:prstGeom prst="rect">
            <a:avLst/>
          </a:prstGeom>
        </p:spPr>
        <p:txBody>
          <a:bodyPr vert="horz" lIns="91425" tIns="45713" rIns="91425" bIns="45713" rtlCol="0" anchor="b"/>
          <a:lstStyle>
            <a:lvl1pPr algn="r">
              <a:defRPr sz="1200"/>
            </a:lvl1pPr>
          </a:lstStyle>
          <a:p>
            <a:fld id="{95D033D4-957B-4589-849F-05AC02CD5F4F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5978716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4" y="9"/>
            <a:ext cx="4278842" cy="341351"/>
          </a:xfrm>
          <a:prstGeom prst="rect">
            <a:avLst/>
          </a:prstGeom>
        </p:spPr>
        <p:txBody>
          <a:bodyPr vert="horz" lIns="91425" tIns="45713" rIns="91425" bIns="45713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5593133" y="9"/>
            <a:ext cx="4278842" cy="341351"/>
          </a:xfrm>
          <a:prstGeom prst="rect">
            <a:avLst/>
          </a:prstGeom>
        </p:spPr>
        <p:txBody>
          <a:bodyPr vert="horz" lIns="91425" tIns="45713" rIns="91425" bIns="45713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3F87A0A6-D1A9-4AA0-9020-20FDE50DC583}" type="datetimeFigureOut">
              <a:rPr lang="ru-RU"/>
              <a:pPr>
                <a:defRPr/>
              </a:pPr>
              <a:t>07.09.2021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2898775" y="849313"/>
            <a:ext cx="4076700" cy="22939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5" tIns="45713" rIns="91425" bIns="45713" rtlCol="0" anchor="ctr"/>
          <a:lstStyle/>
          <a:p>
            <a:pPr lvl="0"/>
            <a:endParaRPr lang="ru-RU" noProof="0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987426" y="3271112"/>
            <a:ext cx="7899400" cy="2676455"/>
          </a:xfrm>
          <a:prstGeom prst="rect">
            <a:avLst/>
          </a:prstGeom>
        </p:spPr>
        <p:txBody>
          <a:bodyPr vert="horz" lIns="91425" tIns="45713" rIns="91425" bIns="45713" rtlCol="0"/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4" y="6456332"/>
            <a:ext cx="4278842" cy="341351"/>
          </a:xfrm>
          <a:prstGeom prst="rect">
            <a:avLst/>
          </a:prstGeom>
        </p:spPr>
        <p:txBody>
          <a:bodyPr vert="horz" lIns="91425" tIns="45713" rIns="91425" bIns="45713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5593133" y="6456332"/>
            <a:ext cx="4278842" cy="341351"/>
          </a:xfrm>
          <a:prstGeom prst="rect">
            <a:avLst/>
          </a:prstGeom>
        </p:spPr>
        <p:txBody>
          <a:bodyPr vert="horz" lIns="91425" tIns="45713" rIns="91425" bIns="45713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9B76B9CF-F16D-4F89-B690-46B4E292A9F3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119426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8F0502F-5A19-4154-B9EA-D65F24C5A346}" type="datetimeFigureOut">
              <a:rPr lang="ru-RU"/>
              <a:pPr>
                <a:defRPr/>
              </a:pPr>
              <a:t>07.09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0BA3511-E135-452F-B790-0AC3D884B89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9104181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A58BD7-CA50-466D-B44E-2AF394EAAC9F}" type="datetimeFigureOut">
              <a:rPr lang="ru-RU"/>
              <a:pPr>
                <a:defRPr/>
              </a:pPr>
              <a:t>07.09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3F43AA5-5F6B-4F71-9E80-80273C1DB217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2879582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B44B568-A579-4F3C-8B2C-E742F2DBCCD9}" type="datetimeFigureOut">
              <a:rPr lang="ru-RU"/>
              <a:pPr>
                <a:defRPr/>
              </a:pPr>
              <a:t>07.09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7BB2ECB-41F2-46B4-A2D0-0CD3A91E801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0223301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847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AutoShape 90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Прямая соединительная линия 4"/>
          <p:cNvCxnSpPr/>
          <p:nvPr userDrawn="1"/>
        </p:nvCxnSpPr>
        <p:spPr>
          <a:xfrm>
            <a:off x="0" y="552450"/>
            <a:ext cx="12199938" cy="0"/>
          </a:xfrm>
          <a:prstGeom prst="line">
            <a:avLst/>
          </a:prstGeom>
          <a:ln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Группа 5"/>
          <p:cNvGrpSpPr/>
          <p:nvPr userDrawn="1"/>
        </p:nvGrpSpPr>
        <p:grpSpPr>
          <a:xfrm>
            <a:off x="10420004" y="103661"/>
            <a:ext cx="1682560" cy="394220"/>
            <a:chOff x="8014653" y="219761"/>
            <a:chExt cx="1033002" cy="204973"/>
          </a:xfrm>
          <a:solidFill>
            <a:schemeClr val="accent6">
              <a:lumMod val="60000"/>
              <a:lumOff val="40000"/>
            </a:schemeClr>
          </a:solidFill>
        </p:grpSpPr>
        <p:sp>
          <p:nvSpPr>
            <p:cNvPr id="7" name="Freeform 6"/>
            <p:cNvSpPr>
              <a:spLocks/>
            </p:cNvSpPr>
            <p:nvPr/>
          </p:nvSpPr>
          <p:spPr bwMode="auto">
            <a:xfrm>
              <a:off x="8014653" y="268599"/>
              <a:ext cx="209412" cy="156135"/>
            </a:xfrm>
            <a:custGeom>
              <a:avLst/>
              <a:gdLst>
                <a:gd name="T0" fmla="*/ 959 w 1043"/>
                <a:gd name="T1" fmla="*/ 0 h 775"/>
                <a:gd name="T2" fmla="*/ 892 w 1043"/>
                <a:gd name="T3" fmla="*/ 556 h 775"/>
                <a:gd name="T4" fmla="*/ 324 w 1043"/>
                <a:gd name="T5" fmla="*/ 693 h 775"/>
                <a:gd name="T6" fmla="*/ 10 w 1043"/>
                <a:gd name="T7" fmla="*/ 197 h 775"/>
                <a:gd name="T8" fmla="*/ 64 w 1043"/>
                <a:gd name="T9" fmla="*/ 225 h 775"/>
                <a:gd name="T10" fmla="*/ 296 w 1043"/>
                <a:gd name="T11" fmla="*/ 359 h 775"/>
                <a:gd name="T12" fmla="*/ 334 w 1043"/>
                <a:gd name="T13" fmla="*/ 359 h 775"/>
                <a:gd name="T14" fmla="*/ 771 w 1043"/>
                <a:gd name="T15" fmla="*/ 107 h 775"/>
                <a:gd name="T16" fmla="*/ 959 w 1043"/>
                <a:gd name="T17" fmla="*/ 0 h 7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43" h="775">
                  <a:moveTo>
                    <a:pt x="959" y="0"/>
                  </a:moveTo>
                  <a:cubicBezTo>
                    <a:pt x="1043" y="154"/>
                    <a:pt x="1037" y="391"/>
                    <a:pt x="892" y="556"/>
                  </a:cubicBezTo>
                  <a:cubicBezTo>
                    <a:pt x="749" y="719"/>
                    <a:pt x="528" y="775"/>
                    <a:pt x="324" y="693"/>
                  </a:cubicBezTo>
                  <a:cubicBezTo>
                    <a:pt x="120" y="611"/>
                    <a:pt x="0" y="417"/>
                    <a:pt x="10" y="197"/>
                  </a:cubicBezTo>
                  <a:cubicBezTo>
                    <a:pt x="29" y="207"/>
                    <a:pt x="47" y="215"/>
                    <a:pt x="64" y="225"/>
                  </a:cubicBezTo>
                  <a:cubicBezTo>
                    <a:pt x="141" y="270"/>
                    <a:pt x="219" y="314"/>
                    <a:pt x="296" y="359"/>
                  </a:cubicBezTo>
                  <a:cubicBezTo>
                    <a:pt x="310" y="368"/>
                    <a:pt x="320" y="367"/>
                    <a:pt x="334" y="359"/>
                  </a:cubicBezTo>
                  <a:cubicBezTo>
                    <a:pt x="479" y="275"/>
                    <a:pt x="625" y="191"/>
                    <a:pt x="771" y="107"/>
                  </a:cubicBezTo>
                  <a:cubicBezTo>
                    <a:pt x="833" y="72"/>
                    <a:pt x="895" y="36"/>
                    <a:pt x="95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8" name="Freeform 7"/>
            <p:cNvSpPr>
              <a:spLocks/>
            </p:cNvSpPr>
            <p:nvPr/>
          </p:nvSpPr>
          <p:spPr bwMode="auto">
            <a:xfrm>
              <a:off x="8278823" y="378855"/>
              <a:ext cx="768832" cy="9620"/>
            </a:xfrm>
            <a:custGeom>
              <a:avLst/>
              <a:gdLst>
                <a:gd name="T0" fmla="*/ 0 w 3824"/>
                <a:gd name="T1" fmla="*/ 49 h 49"/>
                <a:gd name="T2" fmla="*/ 0 w 3824"/>
                <a:gd name="T3" fmla="*/ 0 h 49"/>
                <a:gd name="T4" fmla="*/ 3824 w 3824"/>
                <a:gd name="T5" fmla="*/ 0 h 49"/>
                <a:gd name="T6" fmla="*/ 3824 w 3824"/>
                <a:gd name="T7" fmla="*/ 49 h 49"/>
                <a:gd name="T8" fmla="*/ 0 w 3824"/>
                <a:gd name="T9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24" h="49">
                  <a:moveTo>
                    <a:pt x="0" y="49"/>
                  </a:moveTo>
                  <a:cubicBezTo>
                    <a:pt x="0" y="32"/>
                    <a:pt x="0" y="17"/>
                    <a:pt x="0" y="0"/>
                  </a:cubicBezTo>
                  <a:cubicBezTo>
                    <a:pt x="1275" y="0"/>
                    <a:pt x="2549" y="0"/>
                    <a:pt x="3824" y="0"/>
                  </a:cubicBezTo>
                  <a:cubicBezTo>
                    <a:pt x="3824" y="17"/>
                    <a:pt x="3824" y="32"/>
                    <a:pt x="3824" y="49"/>
                  </a:cubicBezTo>
                  <a:cubicBezTo>
                    <a:pt x="2550" y="49"/>
                    <a:pt x="1276" y="49"/>
                    <a:pt x="0" y="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9" name="Freeform 8"/>
            <p:cNvSpPr>
              <a:spLocks/>
            </p:cNvSpPr>
            <p:nvPr/>
          </p:nvSpPr>
          <p:spPr bwMode="auto">
            <a:xfrm>
              <a:off x="8836023" y="247880"/>
              <a:ext cx="97676" cy="103596"/>
            </a:xfrm>
            <a:custGeom>
              <a:avLst/>
              <a:gdLst>
                <a:gd name="T0" fmla="*/ 479 w 486"/>
                <a:gd name="T1" fmla="*/ 514 h 514"/>
                <a:gd name="T2" fmla="*/ 315 w 486"/>
                <a:gd name="T3" fmla="*/ 514 h 514"/>
                <a:gd name="T4" fmla="*/ 314 w 486"/>
                <a:gd name="T5" fmla="*/ 507 h 514"/>
                <a:gd name="T6" fmla="*/ 345 w 486"/>
                <a:gd name="T7" fmla="*/ 433 h 514"/>
                <a:gd name="T8" fmla="*/ 345 w 486"/>
                <a:gd name="T9" fmla="*/ 251 h 514"/>
                <a:gd name="T10" fmla="*/ 140 w 486"/>
                <a:gd name="T11" fmla="*/ 251 h 514"/>
                <a:gd name="T12" fmla="*/ 140 w 486"/>
                <a:gd name="T13" fmla="*/ 311 h 514"/>
                <a:gd name="T14" fmla="*/ 140 w 486"/>
                <a:gd name="T15" fmla="*/ 439 h 514"/>
                <a:gd name="T16" fmla="*/ 170 w 486"/>
                <a:gd name="T17" fmla="*/ 513 h 514"/>
                <a:gd name="T18" fmla="*/ 0 w 486"/>
                <a:gd name="T19" fmla="*/ 513 h 514"/>
                <a:gd name="T20" fmla="*/ 28 w 486"/>
                <a:gd name="T21" fmla="*/ 431 h 514"/>
                <a:gd name="T22" fmla="*/ 29 w 486"/>
                <a:gd name="T23" fmla="*/ 63 h 514"/>
                <a:gd name="T24" fmla="*/ 1 w 486"/>
                <a:gd name="T25" fmla="*/ 10 h 514"/>
                <a:gd name="T26" fmla="*/ 0 w 486"/>
                <a:gd name="T27" fmla="*/ 0 h 514"/>
                <a:gd name="T28" fmla="*/ 167 w 486"/>
                <a:gd name="T29" fmla="*/ 0 h 514"/>
                <a:gd name="T30" fmla="*/ 168 w 486"/>
                <a:gd name="T31" fmla="*/ 7 h 514"/>
                <a:gd name="T32" fmla="*/ 140 w 486"/>
                <a:gd name="T33" fmla="*/ 73 h 514"/>
                <a:gd name="T34" fmla="*/ 140 w 486"/>
                <a:gd name="T35" fmla="*/ 217 h 514"/>
                <a:gd name="T36" fmla="*/ 331 w 486"/>
                <a:gd name="T37" fmla="*/ 216 h 514"/>
                <a:gd name="T38" fmla="*/ 344 w 486"/>
                <a:gd name="T39" fmla="*/ 198 h 514"/>
                <a:gd name="T40" fmla="*/ 344 w 486"/>
                <a:gd name="T41" fmla="*/ 51 h 514"/>
                <a:gd name="T42" fmla="*/ 323 w 486"/>
                <a:gd name="T43" fmla="*/ 15 h 514"/>
                <a:gd name="T44" fmla="*/ 306 w 486"/>
                <a:gd name="T45" fmla="*/ 0 h 514"/>
                <a:gd name="T46" fmla="*/ 486 w 486"/>
                <a:gd name="T47" fmla="*/ 0 h 514"/>
                <a:gd name="T48" fmla="*/ 476 w 486"/>
                <a:gd name="T49" fmla="*/ 13 h 514"/>
                <a:gd name="T50" fmla="*/ 452 w 486"/>
                <a:gd name="T51" fmla="*/ 56 h 514"/>
                <a:gd name="T52" fmla="*/ 453 w 486"/>
                <a:gd name="T53" fmla="*/ 459 h 514"/>
                <a:gd name="T54" fmla="*/ 479 w 486"/>
                <a:gd name="T55" fmla="*/ 514 h 5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86" h="514">
                  <a:moveTo>
                    <a:pt x="479" y="514"/>
                  </a:moveTo>
                  <a:cubicBezTo>
                    <a:pt x="426" y="514"/>
                    <a:pt x="370" y="514"/>
                    <a:pt x="315" y="514"/>
                  </a:cubicBezTo>
                  <a:cubicBezTo>
                    <a:pt x="314" y="511"/>
                    <a:pt x="313" y="508"/>
                    <a:pt x="314" y="507"/>
                  </a:cubicBezTo>
                  <a:cubicBezTo>
                    <a:pt x="346" y="492"/>
                    <a:pt x="345" y="463"/>
                    <a:pt x="345" y="433"/>
                  </a:cubicBezTo>
                  <a:cubicBezTo>
                    <a:pt x="344" y="373"/>
                    <a:pt x="345" y="313"/>
                    <a:pt x="345" y="251"/>
                  </a:cubicBezTo>
                  <a:cubicBezTo>
                    <a:pt x="276" y="251"/>
                    <a:pt x="210" y="251"/>
                    <a:pt x="140" y="251"/>
                  </a:cubicBezTo>
                  <a:cubicBezTo>
                    <a:pt x="140" y="271"/>
                    <a:pt x="140" y="291"/>
                    <a:pt x="140" y="311"/>
                  </a:cubicBezTo>
                  <a:cubicBezTo>
                    <a:pt x="140" y="354"/>
                    <a:pt x="140" y="397"/>
                    <a:pt x="140" y="439"/>
                  </a:cubicBezTo>
                  <a:cubicBezTo>
                    <a:pt x="140" y="479"/>
                    <a:pt x="140" y="479"/>
                    <a:pt x="170" y="513"/>
                  </a:cubicBezTo>
                  <a:cubicBezTo>
                    <a:pt x="112" y="513"/>
                    <a:pt x="56" y="513"/>
                    <a:pt x="0" y="513"/>
                  </a:cubicBezTo>
                  <a:cubicBezTo>
                    <a:pt x="39" y="494"/>
                    <a:pt x="28" y="460"/>
                    <a:pt x="28" y="431"/>
                  </a:cubicBezTo>
                  <a:cubicBezTo>
                    <a:pt x="28" y="308"/>
                    <a:pt x="28" y="185"/>
                    <a:pt x="29" y="63"/>
                  </a:cubicBezTo>
                  <a:cubicBezTo>
                    <a:pt x="29" y="39"/>
                    <a:pt x="29" y="18"/>
                    <a:pt x="1" y="10"/>
                  </a:cubicBezTo>
                  <a:cubicBezTo>
                    <a:pt x="0" y="9"/>
                    <a:pt x="0" y="5"/>
                    <a:pt x="0" y="0"/>
                  </a:cubicBezTo>
                  <a:cubicBezTo>
                    <a:pt x="56" y="0"/>
                    <a:pt x="112" y="0"/>
                    <a:pt x="167" y="0"/>
                  </a:cubicBezTo>
                  <a:cubicBezTo>
                    <a:pt x="168" y="4"/>
                    <a:pt x="168" y="7"/>
                    <a:pt x="168" y="7"/>
                  </a:cubicBezTo>
                  <a:cubicBezTo>
                    <a:pt x="135" y="19"/>
                    <a:pt x="139" y="47"/>
                    <a:pt x="140" y="73"/>
                  </a:cubicBezTo>
                  <a:cubicBezTo>
                    <a:pt x="140" y="120"/>
                    <a:pt x="140" y="167"/>
                    <a:pt x="140" y="217"/>
                  </a:cubicBezTo>
                  <a:cubicBezTo>
                    <a:pt x="205" y="217"/>
                    <a:pt x="268" y="217"/>
                    <a:pt x="331" y="216"/>
                  </a:cubicBezTo>
                  <a:cubicBezTo>
                    <a:pt x="336" y="216"/>
                    <a:pt x="344" y="204"/>
                    <a:pt x="344" y="198"/>
                  </a:cubicBezTo>
                  <a:cubicBezTo>
                    <a:pt x="345" y="149"/>
                    <a:pt x="346" y="100"/>
                    <a:pt x="344" y="51"/>
                  </a:cubicBezTo>
                  <a:cubicBezTo>
                    <a:pt x="343" y="39"/>
                    <a:pt x="330" y="27"/>
                    <a:pt x="323" y="15"/>
                  </a:cubicBezTo>
                  <a:cubicBezTo>
                    <a:pt x="320" y="11"/>
                    <a:pt x="315" y="8"/>
                    <a:pt x="306" y="0"/>
                  </a:cubicBezTo>
                  <a:cubicBezTo>
                    <a:pt x="370" y="0"/>
                    <a:pt x="426" y="0"/>
                    <a:pt x="486" y="0"/>
                  </a:cubicBezTo>
                  <a:cubicBezTo>
                    <a:pt x="482" y="6"/>
                    <a:pt x="480" y="12"/>
                    <a:pt x="476" y="13"/>
                  </a:cubicBezTo>
                  <a:cubicBezTo>
                    <a:pt x="456" y="21"/>
                    <a:pt x="452" y="37"/>
                    <a:pt x="452" y="56"/>
                  </a:cubicBezTo>
                  <a:cubicBezTo>
                    <a:pt x="452" y="190"/>
                    <a:pt x="451" y="325"/>
                    <a:pt x="453" y="459"/>
                  </a:cubicBezTo>
                  <a:cubicBezTo>
                    <a:pt x="453" y="477"/>
                    <a:pt x="469" y="494"/>
                    <a:pt x="479" y="5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0" name="Freeform 9"/>
            <p:cNvSpPr>
              <a:spLocks noEditPoints="1"/>
            </p:cNvSpPr>
            <p:nvPr/>
          </p:nvSpPr>
          <p:spPr bwMode="auto">
            <a:xfrm>
              <a:off x="8639930" y="247880"/>
              <a:ext cx="86577" cy="104337"/>
            </a:xfrm>
            <a:custGeom>
              <a:avLst/>
              <a:gdLst>
                <a:gd name="T0" fmla="*/ 0 w 434"/>
                <a:gd name="T1" fmla="*/ 508 h 519"/>
                <a:gd name="T2" fmla="*/ 33 w 434"/>
                <a:gd name="T3" fmla="*/ 434 h 519"/>
                <a:gd name="T4" fmla="*/ 34 w 434"/>
                <a:gd name="T5" fmla="*/ 55 h 519"/>
                <a:gd name="T6" fmla="*/ 9 w 434"/>
                <a:gd name="T7" fmla="*/ 12 h 519"/>
                <a:gd name="T8" fmla="*/ 3 w 434"/>
                <a:gd name="T9" fmla="*/ 0 h 519"/>
                <a:gd name="T10" fmla="*/ 391 w 434"/>
                <a:gd name="T11" fmla="*/ 0 h 519"/>
                <a:gd name="T12" fmla="*/ 391 w 434"/>
                <a:gd name="T13" fmla="*/ 107 h 519"/>
                <a:gd name="T14" fmla="*/ 359 w 434"/>
                <a:gd name="T15" fmla="*/ 89 h 519"/>
                <a:gd name="T16" fmla="*/ 274 w 434"/>
                <a:gd name="T17" fmla="*/ 29 h 519"/>
                <a:gd name="T18" fmla="*/ 178 w 434"/>
                <a:gd name="T19" fmla="*/ 29 h 519"/>
                <a:gd name="T20" fmla="*/ 145 w 434"/>
                <a:gd name="T21" fmla="*/ 60 h 519"/>
                <a:gd name="T22" fmla="*/ 145 w 434"/>
                <a:gd name="T23" fmla="*/ 175 h 519"/>
                <a:gd name="T24" fmla="*/ 148 w 434"/>
                <a:gd name="T25" fmla="*/ 182 h 519"/>
                <a:gd name="T26" fmla="*/ 275 w 434"/>
                <a:gd name="T27" fmla="*/ 190 h 519"/>
                <a:gd name="T28" fmla="*/ 399 w 434"/>
                <a:gd name="T29" fmla="*/ 255 h 519"/>
                <a:gd name="T30" fmla="*/ 354 w 434"/>
                <a:gd name="T31" fmla="*/ 489 h 519"/>
                <a:gd name="T32" fmla="*/ 258 w 434"/>
                <a:gd name="T33" fmla="*/ 515 h 519"/>
                <a:gd name="T34" fmla="*/ 18 w 434"/>
                <a:gd name="T35" fmla="*/ 516 h 519"/>
                <a:gd name="T36" fmla="*/ 6 w 434"/>
                <a:gd name="T37" fmla="*/ 514 h 519"/>
                <a:gd name="T38" fmla="*/ 0 w 434"/>
                <a:gd name="T39" fmla="*/ 508 h 519"/>
                <a:gd name="T40" fmla="*/ 145 w 434"/>
                <a:gd name="T41" fmla="*/ 210 h 519"/>
                <a:gd name="T42" fmla="*/ 145 w 434"/>
                <a:gd name="T43" fmla="*/ 410 h 519"/>
                <a:gd name="T44" fmla="*/ 225 w 434"/>
                <a:gd name="T45" fmla="*/ 485 h 519"/>
                <a:gd name="T46" fmla="*/ 287 w 434"/>
                <a:gd name="T47" fmla="*/ 442 h 519"/>
                <a:gd name="T48" fmla="*/ 296 w 434"/>
                <a:gd name="T49" fmla="*/ 281 h 519"/>
                <a:gd name="T50" fmla="*/ 245 w 434"/>
                <a:gd name="T51" fmla="*/ 224 h 519"/>
                <a:gd name="T52" fmla="*/ 145 w 434"/>
                <a:gd name="T53" fmla="*/ 210 h 5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34" h="519">
                  <a:moveTo>
                    <a:pt x="0" y="508"/>
                  </a:moveTo>
                  <a:cubicBezTo>
                    <a:pt x="44" y="495"/>
                    <a:pt x="33" y="462"/>
                    <a:pt x="33" y="434"/>
                  </a:cubicBezTo>
                  <a:cubicBezTo>
                    <a:pt x="34" y="307"/>
                    <a:pt x="33" y="181"/>
                    <a:pt x="34" y="55"/>
                  </a:cubicBezTo>
                  <a:cubicBezTo>
                    <a:pt x="34" y="35"/>
                    <a:pt x="33" y="17"/>
                    <a:pt x="9" y="12"/>
                  </a:cubicBezTo>
                  <a:cubicBezTo>
                    <a:pt x="7" y="11"/>
                    <a:pt x="6" y="6"/>
                    <a:pt x="3" y="0"/>
                  </a:cubicBezTo>
                  <a:cubicBezTo>
                    <a:pt x="134" y="0"/>
                    <a:pt x="262" y="0"/>
                    <a:pt x="391" y="0"/>
                  </a:cubicBezTo>
                  <a:cubicBezTo>
                    <a:pt x="391" y="35"/>
                    <a:pt x="391" y="71"/>
                    <a:pt x="391" y="107"/>
                  </a:cubicBezTo>
                  <a:cubicBezTo>
                    <a:pt x="373" y="114"/>
                    <a:pt x="365" y="107"/>
                    <a:pt x="359" y="89"/>
                  </a:cubicBezTo>
                  <a:cubicBezTo>
                    <a:pt x="340" y="36"/>
                    <a:pt x="330" y="29"/>
                    <a:pt x="274" y="29"/>
                  </a:cubicBezTo>
                  <a:cubicBezTo>
                    <a:pt x="242" y="29"/>
                    <a:pt x="210" y="30"/>
                    <a:pt x="178" y="29"/>
                  </a:cubicBezTo>
                  <a:cubicBezTo>
                    <a:pt x="156" y="29"/>
                    <a:pt x="145" y="37"/>
                    <a:pt x="145" y="60"/>
                  </a:cubicBezTo>
                  <a:cubicBezTo>
                    <a:pt x="145" y="98"/>
                    <a:pt x="145" y="137"/>
                    <a:pt x="145" y="175"/>
                  </a:cubicBezTo>
                  <a:cubicBezTo>
                    <a:pt x="145" y="177"/>
                    <a:pt x="147" y="180"/>
                    <a:pt x="148" y="182"/>
                  </a:cubicBezTo>
                  <a:cubicBezTo>
                    <a:pt x="190" y="185"/>
                    <a:pt x="233" y="185"/>
                    <a:pt x="275" y="190"/>
                  </a:cubicBezTo>
                  <a:cubicBezTo>
                    <a:pt x="324" y="195"/>
                    <a:pt x="372" y="208"/>
                    <a:pt x="399" y="255"/>
                  </a:cubicBezTo>
                  <a:cubicBezTo>
                    <a:pt x="434" y="315"/>
                    <a:pt x="429" y="452"/>
                    <a:pt x="354" y="489"/>
                  </a:cubicBezTo>
                  <a:cubicBezTo>
                    <a:pt x="325" y="503"/>
                    <a:pt x="291" y="514"/>
                    <a:pt x="258" y="515"/>
                  </a:cubicBezTo>
                  <a:cubicBezTo>
                    <a:pt x="179" y="519"/>
                    <a:pt x="98" y="516"/>
                    <a:pt x="18" y="516"/>
                  </a:cubicBezTo>
                  <a:cubicBezTo>
                    <a:pt x="14" y="516"/>
                    <a:pt x="10" y="515"/>
                    <a:pt x="6" y="514"/>
                  </a:cubicBezTo>
                  <a:cubicBezTo>
                    <a:pt x="4" y="512"/>
                    <a:pt x="2" y="510"/>
                    <a:pt x="0" y="508"/>
                  </a:cubicBezTo>
                  <a:close/>
                  <a:moveTo>
                    <a:pt x="145" y="210"/>
                  </a:moveTo>
                  <a:cubicBezTo>
                    <a:pt x="145" y="282"/>
                    <a:pt x="145" y="346"/>
                    <a:pt x="145" y="410"/>
                  </a:cubicBezTo>
                  <a:cubicBezTo>
                    <a:pt x="145" y="486"/>
                    <a:pt x="149" y="490"/>
                    <a:pt x="225" y="485"/>
                  </a:cubicBezTo>
                  <a:cubicBezTo>
                    <a:pt x="254" y="483"/>
                    <a:pt x="275" y="469"/>
                    <a:pt x="287" y="442"/>
                  </a:cubicBezTo>
                  <a:cubicBezTo>
                    <a:pt x="310" y="389"/>
                    <a:pt x="309" y="335"/>
                    <a:pt x="296" y="281"/>
                  </a:cubicBezTo>
                  <a:cubicBezTo>
                    <a:pt x="290" y="255"/>
                    <a:pt x="272" y="231"/>
                    <a:pt x="245" y="224"/>
                  </a:cubicBezTo>
                  <a:cubicBezTo>
                    <a:pt x="214" y="217"/>
                    <a:pt x="181" y="215"/>
                    <a:pt x="145" y="2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1" name="Freeform 10"/>
            <p:cNvSpPr>
              <a:spLocks noEditPoints="1"/>
            </p:cNvSpPr>
            <p:nvPr/>
          </p:nvSpPr>
          <p:spPr bwMode="auto">
            <a:xfrm>
              <a:off x="8365400" y="247880"/>
              <a:ext cx="84357" cy="105076"/>
            </a:xfrm>
            <a:custGeom>
              <a:avLst/>
              <a:gdLst>
                <a:gd name="T0" fmla="*/ 0 w 418"/>
                <a:gd name="T1" fmla="*/ 510 h 521"/>
                <a:gd name="T2" fmla="*/ 32 w 418"/>
                <a:gd name="T3" fmla="*/ 421 h 521"/>
                <a:gd name="T4" fmla="*/ 32 w 418"/>
                <a:gd name="T5" fmla="*/ 63 h 521"/>
                <a:gd name="T6" fmla="*/ 7 w 418"/>
                <a:gd name="T7" fmla="*/ 12 h 521"/>
                <a:gd name="T8" fmla="*/ 5 w 418"/>
                <a:gd name="T9" fmla="*/ 0 h 521"/>
                <a:gd name="T10" fmla="*/ 388 w 418"/>
                <a:gd name="T11" fmla="*/ 0 h 521"/>
                <a:gd name="T12" fmla="*/ 388 w 418"/>
                <a:gd name="T13" fmla="*/ 108 h 521"/>
                <a:gd name="T14" fmla="*/ 357 w 418"/>
                <a:gd name="T15" fmla="*/ 89 h 521"/>
                <a:gd name="T16" fmla="*/ 278 w 418"/>
                <a:gd name="T17" fmla="*/ 30 h 521"/>
                <a:gd name="T18" fmla="*/ 171 w 418"/>
                <a:gd name="T19" fmla="*/ 30 h 521"/>
                <a:gd name="T20" fmla="*/ 144 w 418"/>
                <a:gd name="T21" fmla="*/ 55 h 521"/>
                <a:gd name="T22" fmla="*/ 144 w 418"/>
                <a:gd name="T23" fmla="*/ 186 h 521"/>
                <a:gd name="T24" fmla="*/ 225 w 418"/>
                <a:gd name="T25" fmla="*/ 186 h 521"/>
                <a:gd name="T26" fmla="*/ 329 w 418"/>
                <a:gd name="T27" fmla="*/ 204 h 521"/>
                <a:gd name="T28" fmla="*/ 415 w 418"/>
                <a:gd name="T29" fmla="*/ 313 h 521"/>
                <a:gd name="T30" fmla="*/ 411 w 418"/>
                <a:gd name="T31" fmla="*/ 400 h 521"/>
                <a:gd name="T32" fmla="*/ 306 w 418"/>
                <a:gd name="T33" fmla="*/ 508 h 521"/>
                <a:gd name="T34" fmla="*/ 7 w 418"/>
                <a:gd name="T35" fmla="*/ 521 h 521"/>
                <a:gd name="T36" fmla="*/ 0 w 418"/>
                <a:gd name="T37" fmla="*/ 510 h 521"/>
                <a:gd name="T38" fmla="*/ 144 w 418"/>
                <a:gd name="T39" fmla="*/ 212 h 521"/>
                <a:gd name="T40" fmla="*/ 144 w 418"/>
                <a:gd name="T41" fmla="*/ 414 h 521"/>
                <a:gd name="T42" fmla="*/ 216 w 418"/>
                <a:gd name="T43" fmla="*/ 486 h 521"/>
                <a:gd name="T44" fmla="*/ 291 w 418"/>
                <a:gd name="T45" fmla="*/ 430 h 521"/>
                <a:gd name="T46" fmla="*/ 293 w 418"/>
                <a:gd name="T47" fmla="*/ 282 h 521"/>
                <a:gd name="T48" fmla="*/ 243 w 418"/>
                <a:gd name="T49" fmla="*/ 225 h 521"/>
                <a:gd name="T50" fmla="*/ 144 w 418"/>
                <a:gd name="T51" fmla="*/ 212 h 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18" h="521">
                  <a:moveTo>
                    <a:pt x="0" y="510"/>
                  </a:moveTo>
                  <a:cubicBezTo>
                    <a:pt x="47" y="491"/>
                    <a:pt x="31" y="453"/>
                    <a:pt x="32" y="421"/>
                  </a:cubicBezTo>
                  <a:cubicBezTo>
                    <a:pt x="33" y="302"/>
                    <a:pt x="32" y="182"/>
                    <a:pt x="32" y="63"/>
                  </a:cubicBezTo>
                  <a:cubicBezTo>
                    <a:pt x="32" y="42"/>
                    <a:pt x="34" y="20"/>
                    <a:pt x="7" y="12"/>
                  </a:cubicBezTo>
                  <a:cubicBezTo>
                    <a:pt x="6" y="11"/>
                    <a:pt x="6" y="5"/>
                    <a:pt x="5" y="0"/>
                  </a:cubicBezTo>
                  <a:cubicBezTo>
                    <a:pt x="133" y="0"/>
                    <a:pt x="259" y="0"/>
                    <a:pt x="388" y="0"/>
                  </a:cubicBezTo>
                  <a:cubicBezTo>
                    <a:pt x="388" y="36"/>
                    <a:pt x="388" y="72"/>
                    <a:pt x="388" y="108"/>
                  </a:cubicBezTo>
                  <a:cubicBezTo>
                    <a:pt x="369" y="115"/>
                    <a:pt x="362" y="108"/>
                    <a:pt x="357" y="89"/>
                  </a:cubicBezTo>
                  <a:cubicBezTo>
                    <a:pt x="345" y="45"/>
                    <a:pt x="324" y="30"/>
                    <a:pt x="278" y="30"/>
                  </a:cubicBezTo>
                  <a:cubicBezTo>
                    <a:pt x="243" y="30"/>
                    <a:pt x="207" y="30"/>
                    <a:pt x="171" y="30"/>
                  </a:cubicBezTo>
                  <a:cubicBezTo>
                    <a:pt x="154" y="30"/>
                    <a:pt x="144" y="37"/>
                    <a:pt x="144" y="55"/>
                  </a:cubicBezTo>
                  <a:cubicBezTo>
                    <a:pt x="144" y="97"/>
                    <a:pt x="144" y="140"/>
                    <a:pt x="144" y="186"/>
                  </a:cubicBezTo>
                  <a:cubicBezTo>
                    <a:pt x="172" y="186"/>
                    <a:pt x="199" y="184"/>
                    <a:pt x="225" y="186"/>
                  </a:cubicBezTo>
                  <a:cubicBezTo>
                    <a:pt x="260" y="190"/>
                    <a:pt x="295" y="194"/>
                    <a:pt x="329" y="204"/>
                  </a:cubicBezTo>
                  <a:cubicBezTo>
                    <a:pt x="383" y="218"/>
                    <a:pt x="409" y="260"/>
                    <a:pt x="415" y="313"/>
                  </a:cubicBezTo>
                  <a:cubicBezTo>
                    <a:pt x="418" y="341"/>
                    <a:pt x="415" y="371"/>
                    <a:pt x="411" y="400"/>
                  </a:cubicBezTo>
                  <a:cubicBezTo>
                    <a:pt x="403" y="461"/>
                    <a:pt x="364" y="502"/>
                    <a:pt x="306" y="508"/>
                  </a:cubicBezTo>
                  <a:cubicBezTo>
                    <a:pt x="207" y="518"/>
                    <a:pt x="107" y="517"/>
                    <a:pt x="7" y="521"/>
                  </a:cubicBezTo>
                  <a:cubicBezTo>
                    <a:pt x="5" y="517"/>
                    <a:pt x="3" y="514"/>
                    <a:pt x="0" y="510"/>
                  </a:cubicBezTo>
                  <a:close/>
                  <a:moveTo>
                    <a:pt x="144" y="212"/>
                  </a:moveTo>
                  <a:cubicBezTo>
                    <a:pt x="144" y="283"/>
                    <a:pt x="144" y="349"/>
                    <a:pt x="144" y="414"/>
                  </a:cubicBezTo>
                  <a:cubicBezTo>
                    <a:pt x="144" y="487"/>
                    <a:pt x="144" y="487"/>
                    <a:pt x="216" y="486"/>
                  </a:cubicBezTo>
                  <a:cubicBezTo>
                    <a:pt x="253" y="485"/>
                    <a:pt x="286" y="465"/>
                    <a:pt x="291" y="430"/>
                  </a:cubicBezTo>
                  <a:cubicBezTo>
                    <a:pt x="297" y="381"/>
                    <a:pt x="296" y="331"/>
                    <a:pt x="293" y="282"/>
                  </a:cubicBezTo>
                  <a:cubicBezTo>
                    <a:pt x="291" y="254"/>
                    <a:pt x="270" y="232"/>
                    <a:pt x="243" y="225"/>
                  </a:cubicBezTo>
                  <a:cubicBezTo>
                    <a:pt x="212" y="217"/>
                    <a:pt x="179" y="216"/>
                    <a:pt x="144" y="2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2" name="Freeform 11"/>
            <p:cNvSpPr>
              <a:spLocks noEditPoints="1"/>
            </p:cNvSpPr>
            <p:nvPr/>
          </p:nvSpPr>
          <p:spPr bwMode="auto">
            <a:xfrm>
              <a:off x="8549653" y="247140"/>
              <a:ext cx="82137" cy="104337"/>
            </a:xfrm>
            <a:custGeom>
              <a:avLst/>
              <a:gdLst>
                <a:gd name="T0" fmla="*/ 149 w 408"/>
                <a:gd name="T1" fmla="*/ 312 h 516"/>
                <a:gd name="T2" fmla="*/ 150 w 408"/>
                <a:gd name="T3" fmla="*/ 477 h 516"/>
                <a:gd name="T4" fmla="*/ 177 w 408"/>
                <a:gd name="T5" fmla="*/ 516 h 516"/>
                <a:gd name="T6" fmla="*/ 1 w 408"/>
                <a:gd name="T7" fmla="*/ 516 h 516"/>
                <a:gd name="T8" fmla="*/ 36 w 408"/>
                <a:gd name="T9" fmla="*/ 407 h 516"/>
                <a:gd name="T10" fmla="*/ 36 w 408"/>
                <a:gd name="T11" fmla="*/ 114 h 516"/>
                <a:gd name="T12" fmla="*/ 0 w 408"/>
                <a:gd name="T13" fmla="*/ 5 h 516"/>
                <a:gd name="T14" fmla="*/ 29 w 408"/>
                <a:gd name="T15" fmla="*/ 1 h 516"/>
                <a:gd name="T16" fmla="*/ 253 w 408"/>
                <a:gd name="T17" fmla="*/ 1 h 516"/>
                <a:gd name="T18" fmla="*/ 318 w 408"/>
                <a:gd name="T19" fmla="*/ 11 h 516"/>
                <a:gd name="T20" fmla="*/ 404 w 408"/>
                <a:gd name="T21" fmla="*/ 129 h 516"/>
                <a:gd name="T22" fmla="*/ 336 w 408"/>
                <a:gd name="T23" fmla="*/ 287 h 516"/>
                <a:gd name="T24" fmla="*/ 237 w 408"/>
                <a:gd name="T25" fmla="*/ 311 h 516"/>
                <a:gd name="T26" fmla="*/ 149 w 408"/>
                <a:gd name="T27" fmla="*/ 312 h 516"/>
                <a:gd name="T28" fmla="*/ 149 w 408"/>
                <a:gd name="T29" fmla="*/ 284 h 516"/>
                <a:gd name="T30" fmla="*/ 194 w 408"/>
                <a:gd name="T31" fmla="*/ 284 h 516"/>
                <a:gd name="T32" fmla="*/ 281 w 408"/>
                <a:gd name="T33" fmla="*/ 216 h 516"/>
                <a:gd name="T34" fmla="*/ 289 w 408"/>
                <a:gd name="T35" fmla="*/ 132 h 516"/>
                <a:gd name="T36" fmla="*/ 171 w 408"/>
                <a:gd name="T37" fmla="*/ 33 h 516"/>
                <a:gd name="T38" fmla="*/ 150 w 408"/>
                <a:gd name="T39" fmla="*/ 56 h 516"/>
                <a:gd name="T40" fmla="*/ 149 w 408"/>
                <a:gd name="T41" fmla="*/ 284 h 5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08" h="516">
                  <a:moveTo>
                    <a:pt x="149" y="312"/>
                  </a:moveTo>
                  <a:cubicBezTo>
                    <a:pt x="149" y="370"/>
                    <a:pt x="147" y="424"/>
                    <a:pt x="150" y="477"/>
                  </a:cubicBezTo>
                  <a:cubicBezTo>
                    <a:pt x="151" y="490"/>
                    <a:pt x="167" y="502"/>
                    <a:pt x="177" y="516"/>
                  </a:cubicBezTo>
                  <a:cubicBezTo>
                    <a:pt x="122" y="516"/>
                    <a:pt x="66" y="516"/>
                    <a:pt x="1" y="516"/>
                  </a:cubicBezTo>
                  <a:cubicBezTo>
                    <a:pt x="54" y="487"/>
                    <a:pt x="36" y="444"/>
                    <a:pt x="36" y="407"/>
                  </a:cubicBezTo>
                  <a:cubicBezTo>
                    <a:pt x="38" y="309"/>
                    <a:pt x="38" y="211"/>
                    <a:pt x="36" y="114"/>
                  </a:cubicBezTo>
                  <a:cubicBezTo>
                    <a:pt x="36" y="77"/>
                    <a:pt x="54" y="33"/>
                    <a:pt x="0" y="5"/>
                  </a:cubicBezTo>
                  <a:cubicBezTo>
                    <a:pt x="16" y="2"/>
                    <a:pt x="23" y="1"/>
                    <a:pt x="29" y="1"/>
                  </a:cubicBezTo>
                  <a:cubicBezTo>
                    <a:pt x="104" y="0"/>
                    <a:pt x="178" y="0"/>
                    <a:pt x="253" y="1"/>
                  </a:cubicBezTo>
                  <a:cubicBezTo>
                    <a:pt x="275" y="1"/>
                    <a:pt x="297" y="5"/>
                    <a:pt x="318" y="11"/>
                  </a:cubicBezTo>
                  <a:cubicBezTo>
                    <a:pt x="375" y="29"/>
                    <a:pt x="400" y="72"/>
                    <a:pt x="404" y="129"/>
                  </a:cubicBezTo>
                  <a:cubicBezTo>
                    <a:pt x="408" y="192"/>
                    <a:pt x="395" y="260"/>
                    <a:pt x="336" y="287"/>
                  </a:cubicBezTo>
                  <a:cubicBezTo>
                    <a:pt x="305" y="301"/>
                    <a:pt x="270" y="307"/>
                    <a:pt x="237" y="311"/>
                  </a:cubicBezTo>
                  <a:cubicBezTo>
                    <a:pt x="209" y="315"/>
                    <a:pt x="180" y="312"/>
                    <a:pt x="149" y="312"/>
                  </a:cubicBezTo>
                  <a:close/>
                  <a:moveTo>
                    <a:pt x="149" y="284"/>
                  </a:moveTo>
                  <a:cubicBezTo>
                    <a:pt x="166" y="284"/>
                    <a:pt x="180" y="284"/>
                    <a:pt x="194" y="284"/>
                  </a:cubicBezTo>
                  <a:cubicBezTo>
                    <a:pt x="245" y="283"/>
                    <a:pt x="270" y="265"/>
                    <a:pt x="281" y="216"/>
                  </a:cubicBezTo>
                  <a:cubicBezTo>
                    <a:pt x="287" y="188"/>
                    <a:pt x="291" y="160"/>
                    <a:pt x="289" y="132"/>
                  </a:cubicBezTo>
                  <a:cubicBezTo>
                    <a:pt x="285" y="54"/>
                    <a:pt x="249" y="25"/>
                    <a:pt x="171" y="33"/>
                  </a:cubicBezTo>
                  <a:cubicBezTo>
                    <a:pt x="163" y="34"/>
                    <a:pt x="150" y="48"/>
                    <a:pt x="150" y="56"/>
                  </a:cubicBezTo>
                  <a:cubicBezTo>
                    <a:pt x="148" y="130"/>
                    <a:pt x="149" y="205"/>
                    <a:pt x="149" y="2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3" name="Freeform 12"/>
            <p:cNvSpPr>
              <a:spLocks noEditPoints="1"/>
            </p:cNvSpPr>
            <p:nvPr/>
          </p:nvSpPr>
          <p:spPr bwMode="auto">
            <a:xfrm>
              <a:off x="8728727" y="247880"/>
              <a:ext cx="96936" cy="104337"/>
            </a:xfrm>
            <a:custGeom>
              <a:avLst/>
              <a:gdLst>
                <a:gd name="T0" fmla="*/ 0 w 479"/>
                <a:gd name="T1" fmla="*/ 517 h 518"/>
                <a:gd name="T2" fmla="*/ 172 w 479"/>
                <a:gd name="T3" fmla="*/ 99 h 518"/>
                <a:gd name="T4" fmla="*/ 183 w 479"/>
                <a:gd name="T5" fmla="*/ 61 h 518"/>
                <a:gd name="T6" fmla="*/ 161 w 479"/>
                <a:gd name="T7" fmla="*/ 13 h 518"/>
                <a:gd name="T8" fmla="*/ 155 w 479"/>
                <a:gd name="T9" fmla="*/ 0 h 518"/>
                <a:gd name="T10" fmla="*/ 297 w 479"/>
                <a:gd name="T11" fmla="*/ 0 h 518"/>
                <a:gd name="T12" fmla="*/ 479 w 479"/>
                <a:gd name="T13" fmla="*/ 516 h 518"/>
                <a:gd name="T14" fmla="*/ 360 w 479"/>
                <a:gd name="T15" fmla="*/ 516 h 518"/>
                <a:gd name="T16" fmla="*/ 307 w 479"/>
                <a:gd name="T17" fmla="*/ 352 h 518"/>
                <a:gd name="T18" fmla="*/ 278 w 479"/>
                <a:gd name="T19" fmla="*/ 329 h 518"/>
                <a:gd name="T20" fmla="*/ 155 w 479"/>
                <a:gd name="T21" fmla="*/ 329 h 518"/>
                <a:gd name="T22" fmla="*/ 125 w 479"/>
                <a:gd name="T23" fmla="*/ 352 h 518"/>
                <a:gd name="T24" fmla="*/ 88 w 479"/>
                <a:gd name="T25" fmla="*/ 498 h 518"/>
                <a:gd name="T26" fmla="*/ 66 w 479"/>
                <a:gd name="T27" fmla="*/ 518 h 518"/>
                <a:gd name="T28" fmla="*/ 0 w 479"/>
                <a:gd name="T29" fmla="*/ 517 h 518"/>
                <a:gd name="T30" fmla="*/ 221 w 479"/>
                <a:gd name="T31" fmla="*/ 91 h 518"/>
                <a:gd name="T32" fmla="*/ 215 w 479"/>
                <a:gd name="T33" fmla="*/ 91 h 518"/>
                <a:gd name="T34" fmla="*/ 144 w 479"/>
                <a:gd name="T35" fmla="*/ 296 h 518"/>
                <a:gd name="T36" fmla="*/ 289 w 479"/>
                <a:gd name="T37" fmla="*/ 296 h 518"/>
                <a:gd name="T38" fmla="*/ 221 w 479"/>
                <a:gd name="T39" fmla="*/ 91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79" h="518">
                  <a:moveTo>
                    <a:pt x="0" y="517"/>
                  </a:moveTo>
                  <a:cubicBezTo>
                    <a:pt x="58" y="376"/>
                    <a:pt x="115" y="238"/>
                    <a:pt x="172" y="99"/>
                  </a:cubicBezTo>
                  <a:cubicBezTo>
                    <a:pt x="177" y="87"/>
                    <a:pt x="181" y="74"/>
                    <a:pt x="183" y="61"/>
                  </a:cubicBezTo>
                  <a:cubicBezTo>
                    <a:pt x="186" y="41"/>
                    <a:pt x="186" y="21"/>
                    <a:pt x="161" y="13"/>
                  </a:cubicBezTo>
                  <a:cubicBezTo>
                    <a:pt x="159" y="13"/>
                    <a:pt x="158" y="6"/>
                    <a:pt x="155" y="0"/>
                  </a:cubicBezTo>
                  <a:cubicBezTo>
                    <a:pt x="205" y="0"/>
                    <a:pt x="253" y="0"/>
                    <a:pt x="297" y="0"/>
                  </a:cubicBezTo>
                  <a:cubicBezTo>
                    <a:pt x="358" y="173"/>
                    <a:pt x="418" y="344"/>
                    <a:pt x="479" y="516"/>
                  </a:cubicBezTo>
                  <a:cubicBezTo>
                    <a:pt x="442" y="516"/>
                    <a:pt x="401" y="516"/>
                    <a:pt x="360" y="516"/>
                  </a:cubicBezTo>
                  <a:cubicBezTo>
                    <a:pt x="342" y="461"/>
                    <a:pt x="324" y="407"/>
                    <a:pt x="307" y="352"/>
                  </a:cubicBezTo>
                  <a:cubicBezTo>
                    <a:pt x="302" y="336"/>
                    <a:pt x="296" y="329"/>
                    <a:pt x="278" y="329"/>
                  </a:cubicBezTo>
                  <a:cubicBezTo>
                    <a:pt x="237" y="331"/>
                    <a:pt x="196" y="331"/>
                    <a:pt x="155" y="329"/>
                  </a:cubicBezTo>
                  <a:cubicBezTo>
                    <a:pt x="137" y="329"/>
                    <a:pt x="129" y="336"/>
                    <a:pt x="125" y="352"/>
                  </a:cubicBezTo>
                  <a:cubicBezTo>
                    <a:pt x="113" y="400"/>
                    <a:pt x="100" y="449"/>
                    <a:pt x="88" y="498"/>
                  </a:cubicBezTo>
                  <a:cubicBezTo>
                    <a:pt x="85" y="510"/>
                    <a:pt x="81" y="518"/>
                    <a:pt x="66" y="518"/>
                  </a:cubicBezTo>
                  <a:cubicBezTo>
                    <a:pt x="43" y="517"/>
                    <a:pt x="20" y="517"/>
                    <a:pt x="0" y="517"/>
                  </a:cubicBezTo>
                  <a:close/>
                  <a:moveTo>
                    <a:pt x="221" y="91"/>
                  </a:moveTo>
                  <a:cubicBezTo>
                    <a:pt x="219" y="91"/>
                    <a:pt x="217" y="91"/>
                    <a:pt x="215" y="91"/>
                  </a:cubicBezTo>
                  <a:cubicBezTo>
                    <a:pt x="191" y="159"/>
                    <a:pt x="168" y="226"/>
                    <a:pt x="144" y="296"/>
                  </a:cubicBezTo>
                  <a:cubicBezTo>
                    <a:pt x="195" y="296"/>
                    <a:pt x="241" y="296"/>
                    <a:pt x="289" y="296"/>
                  </a:cubicBezTo>
                  <a:cubicBezTo>
                    <a:pt x="266" y="226"/>
                    <a:pt x="244" y="159"/>
                    <a:pt x="221" y="9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4" name="Freeform 13"/>
            <p:cNvSpPr>
              <a:spLocks/>
            </p:cNvSpPr>
            <p:nvPr/>
          </p:nvSpPr>
          <p:spPr bwMode="auto">
            <a:xfrm>
              <a:off x="8462337" y="247880"/>
              <a:ext cx="74737" cy="103596"/>
            </a:xfrm>
            <a:custGeom>
              <a:avLst/>
              <a:gdLst>
                <a:gd name="T0" fmla="*/ 0 w 371"/>
                <a:gd name="T1" fmla="*/ 0 h 516"/>
                <a:gd name="T2" fmla="*/ 358 w 371"/>
                <a:gd name="T3" fmla="*/ 0 h 516"/>
                <a:gd name="T4" fmla="*/ 358 w 371"/>
                <a:gd name="T5" fmla="*/ 108 h 516"/>
                <a:gd name="T6" fmla="*/ 328 w 371"/>
                <a:gd name="T7" fmla="*/ 92 h 516"/>
                <a:gd name="T8" fmla="*/ 244 w 371"/>
                <a:gd name="T9" fmla="*/ 30 h 516"/>
                <a:gd name="T10" fmla="*/ 159 w 371"/>
                <a:gd name="T11" fmla="*/ 31 h 516"/>
                <a:gd name="T12" fmla="*/ 140 w 371"/>
                <a:gd name="T13" fmla="*/ 49 h 516"/>
                <a:gd name="T14" fmla="*/ 139 w 371"/>
                <a:gd name="T15" fmla="*/ 220 h 516"/>
                <a:gd name="T16" fmla="*/ 297 w 371"/>
                <a:gd name="T17" fmla="*/ 211 h 516"/>
                <a:gd name="T18" fmla="*/ 297 w 371"/>
                <a:gd name="T19" fmla="*/ 256 h 516"/>
                <a:gd name="T20" fmla="*/ 139 w 371"/>
                <a:gd name="T21" fmla="*/ 247 h 516"/>
                <a:gd name="T22" fmla="*/ 139 w 371"/>
                <a:gd name="T23" fmla="*/ 296 h 516"/>
                <a:gd name="T24" fmla="*/ 139 w 371"/>
                <a:gd name="T25" fmla="*/ 445 h 516"/>
                <a:gd name="T26" fmla="*/ 175 w 371"/>
                <a:gd name="T27" fmla="*/ 485 h 516"/>
                <a:gd name="T28" fmla="*/ 282 w 371"/>
                <a:gd name="T29" fmla="*/ 485 h 516"/>
                <a:gd name="T30" fmla="*/ 328 w 371"/>
                <a:gd name="T31" fmla="*/ 447 h 516"/>
                <a:gd name="T32" fmla="*/ 343 w 371"/>
                <a:gd name="T33" fmla="*/ 400 h 516"/>
                <a:gd name="T34" fmla="*/ 371 w 371"/>
                <a:gd name="T35" fmla="*/ 400 h 516"/>
                <a:gd name="T36" fmla="*/ 371 w 371"/>
                <a:gd name="T37" fmla="*/ 516 h 516"/>
                <a:gd name="T38" fmla="*/ 2 w 371"/>
                <a:gd name="T39" fmla="*/ 516 h 516"/>
                <a:gd name="T40" fmla="*/ 1 w 371"/>
                <a:gd name="T41" fmla="*/ 510 h 516"/>
                <a:gd name="T42" fmla="*/ 28 w 371"/>
                <a:gd name="T43" fmla="*/ 433 h 516"/>
                <a:gd name="T44" fmla="*/ 28 w 371"/>
                <a:gd name="T45" fmla="*/ 65 h 516"/>
                <a:gd name="T46" fmla="*/ 2 w 371"/>
                <a:gd name="T47" fmla="*/ 12 h 516"/>
                <a:gd name="T48" fmla="*/ 0 w 371"/>
                <a:gd name="T49" fmla="*/ 0 h 5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71" h="516">
                  <a:moveTo>
                    <a:pt x="0" y="0"/>
                  </a:moveTo>
                  <a:cubicBezTo>
                    <a:pt x="120" y="0"/>
                    <a:pt x="238" y="0"/>
                    <a:pt x="358" y="0"/>
                  </a:cubicBezTo>
                  <a:cubicBezTo>
                    <a:pt x="358" y="36"/>
                    <a:pt x="358" y="72"/>
                    <a:pt x="358" y="108"/>
                  </a:cubicBezTo>
                  <a:cubicBezTo>
                    <a:pt x="341" y="114"/>
                    <a:pt x="333" y="109"/>
                    <a:pt x="328" y="92"/>
                  </a:cubicBezTo>
                  <a:cubicBezTo>
                    <a:pt x="313" y="40"/>
                    <a:pt x="298" y="30"/>
                    <a:pt x="244" y="30"/>
                  </a:cubicBezTo>
                  <a:cubicBezTo>
                    <a:pt x="216" y="30"/>
                    <a:pt x="187" y="29"/>
                    <a:pt x="159" y="31"/>
                  </a:cubicBezTo>
                  <a:cubicBezTo>
                    <a:pt x="152" y="32"/>
                    <a:pt x="140" y="42"/>
                    <a:pt x="140" y="49"/>
                  </a:cubicBezTo>
                  <a:cubicBezTo>
                    <a:pt x="139" y="104"/>
                    <a:pt x="139" y="159"/>
                    <a:pt x="139" y="220"/>
                  </a:cubicBezTo>
                  <a:cubicBezTo>
                    <a:pt x="193" y="217"/>
                    <a:pt x="244" y="214"/>
                    <a:pt x="297" y="211"/>
                  </a:cubicBezTo>
                  <a:cubicBezTo>
                    <a:pt x="297" y="224"/>
                    <a:pt x="297" y="241"/>
                    <a:pt x="297" y="256"/>
                  </a:cubicBezTo>
                  <a:cubicBezTo>
                    <a:pt x="247" y="253"/>
                    <a:pt x="195" y="250"/>
                    <a:pt x="139" y="247"/>
                  </a:cubicBezTo>
                  <a:cubicBezTo>
                    <a:pt x="139" y="266"/>
                    <a:pt x="139" y="281"/>
                    <a:pt x="139" y="296"/>
                  </a:cubicBezTo>
                  <a:cubicBezTo>
                    <a:pt x="139" y="346"/>
                    <a:pt x="140" y="395"/>
                    <a:pt x="139" y="445"/>
                  </a:cubicBezTo>
                  <a:cubicBezTo>
                    <a:pt x="138" y="472"/>
                    <a:pt x="152" y="484"/>
                    <a:pt x="175" y="485"/>
                  </a:cubicBezTo>
                  <a:cubicBezTo>
                    <a:pt x="210" y="487"/>
                    <a:pt x="246" y="487"/>
                    <a:pt x="282" y="485"/>
                  </a:cubicBezTo>
                  <a:cubicBezTo>
                    <a:pt x="305" y="484"/>
                    <a:pt x="321" y="470"/>
                    <a:pt x="328" y="447"/>
                  </a:cubicBezTo>
                  <a:cubicBezTo>
                    <a:pt x="333" y="431"/>
                    <a:pt x="338" y="416"/>
                    <a:pt x="343" y="400"/>
                  </a:cubicBezTo>
                  <a:cubicBezTo>
                    <a:pt x="352" y="400"/>
                    <a:pt x="361" y="400"/>
                    <a:pt x="371" y="400"/>
                  </a:cubicBezTo>
                  <a:cubicBezTo>
                    <a:pt x="371" y="439"/>
                    <a:pt x="371" y="477"/>
                    <a:pt x="371" y="516"/>
                  </a:cubicBezTo>
                  <a:cubicBezTo>
                    <a:pt x="247" y="516"/>
                    <a:pt x="124" y="516"/>
                    <a:pt x="2" y="516"/>
                  </a:cubicBezTo>
                  <a:cubicBezTo>
                    <a:pt x="2" y="513"/>
                    <a:pt x="0" y="510"/>
                    <a:pt x="1" y="510"/>
                  </a:cubicBezTo>
                  <a:cubicBezTo>
                    <a:pt x="31" y="492"/>
                    <a:pt x="28" y="462"/>
                    <a:pt x="28" y="433"/>
                  </a:cubicBezTo>
                  <a:cubicBezTo>
                    <a:pt x="27" y="311"/>
                    <a:pt x="27" y="188"/>
                    <a:pt x="28" y="65"/>
                  </a:cubicBezTo>
                  <a:cubicBezTo>
                    <a:pt x="28" y="43"/>
                    <a:pt x="28" y="22"/>
                    <a:pt x="2" y="12"/>
                  </a:cubicBezTo>
                  <a:cubicBezTo>
                    <a:pt x="1" y="12"/>
                    <a:pt x="1" y="6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5" name="Freeform 14"/>
            <p:cNvSpPr>
              <a:spLocks/>
            </p:cNvSpPr>
            <p:nvPr/>
          </p:nvSpPr>
          <p:spPr bwMode="auto">
            <a:xfrm>
              <a:off x="8269943" y="244920"/>
              <a:ext cx="86577" cy="109516"/>
            </a:xfrm>
            <a:custGeom>
              <a:avLst/>
              <a:gdLst>
                <a:gd name="T0" fmla="*/ 413 w 430"/>
                <a:gd name="T1" fmla="*/ 130 h 544"/>
                <a:gd name="T2" fmla="*/ 376 w 430"/>
                <a:gd name="T3" fmla="*/ 110 h 544"/>
                <a:gd name="T4" fmla="*/ 283 w 430"/>
                <a:gd name="T5" fmla="*/ 37 h 544"/>
                <a:gd name="T6" fmla="*/ 157 w 430"/>
                <a:gd name="T7" fmla="*/ 92 h 544"/>
                <a:gd name="T8" fmla="*/ 132 w 430"/>
                <a:gd name="T9" fmla="*/ 175 h 544"/>
                <a:gd name="T10" fmla="*/ 146 w 430"/>
                <a:gd name="T11" fmla="*/ 403 h 544"/>
                <a:gd name="T12" fmla="*/ 309 w 430"/>
                <a:gd name="T13" fmla="*/ 494 h 544"/>
                <a:gd name="T14" fmla="*/ 418 w 430"/>
                <a:gd name="T15" fmla="*/ 471 h 544"/>
                <a:gd name="T16" fmla="*/ 430 w 430"/>
                <a:gd name="T17" fmla="*/ 493 h 544"/>
                <a:gd name="T18" fmla="*/ 306 w 430"/>
                <a:gd name="T19" fmla="*/ 537 h 544"/>
                <a:gd name="T20" fmla="*/ 137 w 430"/>
                <a:gd name="T21" fmla="*/ 521 h 544"/>
                <a:gd name="T22" fmla="*/ 21 w 430"/>
                <a:gd name="T23" fmla="*/ 387 h 544"/>
                <a:gd name="T24" fmla="*/ 23 w 430"/>
                <a:gd name="T25" fmla="*/ 157 h 544"/>
                <a:gd name="T26" fmla="*/ 195 w 430"/>
                <a:gd name="T27" fmla="*/ 9 h 544"/>
                <a:gd name="T28" fmla="*/ 393 w 430"/>
                <a:gd name="T29" fmla="*/ 20 h 544"/>
                <a:gd name="T30" fmla="*/ 413 w 430"/>
                <a:gd name="T31" fmla="*/ 44 h 544"/>
                <a:gd name="T32" fmla="*/ 413 w 430"/>
                <a:gd name="T33" fmla="*/ 130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30" h="544">
                  <a:moveTo>
                    <a:pt x="413" y="130"/>
                  </a:moveTo>
                  <a:cubicBezTo>
                    <a:pt x="390" y="137"/>
                    <a:pt x="381" y="130"/>
                    <a:pt x="376" y="110"/>
                  </a:cubicBezTo>
                  <a:cubicBezTo>
                    <a:pt x="364" y="59"/>
                    <a:pt x="336" y="39"/>
                    <a:pt x="283" y="37"/>
                  </a:cubicBezTo>
                  <a:cubicBezTo>
                    <a:pt x="231" y="34"/>
                    <a:pt x="183" y="43"/>
                    <a:pt x="157" y="92"/>
                  </a:cubicBezTo>
                  <a:cubicBezTo>
                    <a:pt x="144" y="118"/>
                    <a:pt x="137" y="147"/>
                    <a:pt x="132" y="175"/>
                  </a:cubicBezTo>
                  <a:cubicBezTo>
                    <a:pt x="120" y="252"/>
                    <a:pt x="121" y="329"/>
                    <a:pt x="146" y="403"/>
                  </a:cubicBezTo>
                  <a:cubicBezTo>
                    <a:pt x="170" y="474"/>
                    <a:pt x="233" y="505"/>
                    <a:pt x="309" y="494"/>
                  </a:cubicBezTo>
                  <a:cubicBezTo>
                    <a:pt x="345" y="488"/>
                    <a:pt x="380" y="479"/>
                    <a:pt x="418" y="471"/>
                  </a:cubicBezTo>
                  <a:cubicBezTo>
                    <a:pt x="420" y="475"/>
                    <a:pt x="424" y="483"/>
                    <a:pt x="430" y="493"/>
                  </a:cubicBezTo>
                  <a:cubicBezTo>
                    <a:pt x="392" y="520"/>
                    <a:pt x="350" y="532"/>
                    <a:pt x="306" y="537"/>
                  </a:cubicBezTo>
                  <a:cubicBezTo>
                    <a:pt x="249" y="544"/>
                    <a:pt x="191" y="544"/>
                    <a:pt x="137" y="521"/>
                  </a:cubicBezTo>
                  <a:cubicBezTo>
                    <a:pt x="76" y="496"/>
                    <a:pt x="38" y="449"/>
                    <a:pt x="21" y="387"/>
                  </a:cubicBezTo>
                  <a:cubicBezTo>
                    <a:pt x="0" y="311"/>
                    <a:pt x="1" y="234"/>
                    <a:pt x="23" y="157"/>
                  </a:cubicBezTo>
                  <a:cubicBezTo>
                    <a:pt x="49" y="71"/>
                    <a:pt x="108" y="21"/>
                    <a:pt x="195" y="9"/>
                  </a:cubicBezTo>
                  <a:cubicBezTo>
                    <a:pt x="261" y="0"/>
                    <a:pt x="328" y="1"/>
                    <a:pt x="393" y="20"/>
                  </a:cubicBezTo>
                  <a:cubicBezTo>
                    <a:pt x="408" y="24"/>
                    <a:pt x="414" y="29"/>
                    <a:pt x="413" y="44"/>
                  </a:cubicBezTo>
                  <a:cubicBezTo>
                    <a:pt x="412" y="73"/>
                    <a:pt x="413" y="101"/>
                    <a:pt x="413" y="1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8949979" y="247880"/>
              <a:ext cx="34779" cy="103596"/>
            </a:xfrm>
            <a:custGeom>
              <a:avLst/>
              <a:gdLst>
                <a:gd name="T0" fmla="*/ 0 w 174"/>
                <a:gd name="T1" fmla="*/ 0 h 514"/>
                <a:gd name="T2" fmla="*/ 168 w 174"/>
                <a:gd name="T3" fmla="*/ 0 h 514"/>
                <a:gd name="T4" fmla="*/ 169 w 174"/>
                <a:gd name="T5" fmla="*/ 9 h 514"/>
                <a:gd name="T6" fmla="*/ 142 w 174"/>
                <a:gd name="T7" fmla="*/ 75 h 514"/>
                <a:gd name="T8" fmla="*/ 142 w 174"/>
                <a:gd name="T9" fmla="*/ 443 h 514"/>
                <a:gd name="T10" fmla="*/ 174 w 174"/>
                <a:gd name="T11" fmla="*/ 508 h 514"/>
                <a:gd name="T12" fmla="*/ 169 w 174"/>
                <a:gd name="T13" fmla="*/ 514 h 514"/>
                <a:gd name="T14" fmla="*/ 4 w 174"/>
                <a:gd name="T15" fmla="*/ 514 h 514"/>
                <a:gd name="T16" fmla="*/ 4 w 174"/>
                <a:gd name="T17" fmla="*/ 508 h 514"/>
                <a:gd name="T18" fmla="*/ 30 w 174"/>
                <a:gd name="T19" fmla="*/ 449 h 514"/>
                <a:gd name="T20" fmla="*/ 30 w 174"/>
                <a:gd name="T21" fmla="*/ 57 h 514"/>
                <a:gd name="T22" fmla="*/ 7 w 174"/>
                <a:gd name="T23" fmla="*/ 13 h 514"/>
                <a:gd name="T24" fmla="*/ 0 w 174"/>
                <a:gd name="T25" fmla="*/ 0 h 5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4" h="514">
                  <a:moveTo>
                    <a:pt x="0" y="0"/>
                  </a:moveTo>
                  <a:cubicBezTo>
                    <a:pt x="59" y="0"/>
                    <a:pt x="113" y="0"/>
                    <a:pt x="168" y="0"/>
                  </a:cubicBezTo>
                  <a:cubicBezTo>
                    <a:pt x="168" y="4"/>
                    <a:pt x="169" y="8"/>
                    <a:pt x="169" y="9"/>
                  </a:cubicBezTo>
                  <a:cubicBezTo>
                    <a:pt x="141" y="23"/>
                    <a:pt x="142" y="48"/>
                    <a:pt x="142" y="75"/>
                  </a:cubicBezTo>
                  <a:cubicBezTo>
                    <a:pt x="142" y="197"/>
                    <a:pt x="142" y="320"/>
                    <a:pt x="142" y="443"/>
                  </a:cubicBezTo>
                  <a:cubicBezTo>
                    <a:pt x="142" y="468"/>
                    <a:pt x="135" y="497"/>
                    <a:pt x="174" y="508"/>
                  </a:cubicBezTo>
                  <a:cubicBezTo>
                    <a:pt x="172" y="510"/>
                    <a:pt x="171" y="512"/>
                    <a:pt x="169" y="514"/>
                  </a:cubicBezTo>
                  <a:cubicBezTo>
                    <a:pt x="114" y="514"/>
                    <a:pt x="59" y="514"/>
                    <a:pt x="4" y="514"/>
                  </a:cubicBezTo>
                  <a:cubicBezTo>
                    <a:pt x="4" y="511"/>
                    <a:pt x="3" y="508"/>
                    <a:pt x="4" y="508"/>
                  </a:cubicBezTo>
                  <a:cubicBezTo>
                    <a:pt x="31" y="496"/>
                    <a:pt x="31" y="473"/>
                    <a:pt x="30" y="449"/>
                  </a:cubicBezTo>
                  <a:cubicBezTo>
                    <a:pt x="30" y="318"/>
                    <a:pt x="30" y="188"/>
                    <a:pt x="30" y="57"/>
                  </a:cubicBezTo>
                  <a:cubicBezTo>
                    <a:pt x="30" y="37"/>
                    <a:pt x="30" y="19"/>
                    <a:pt x="7" y="13"/>
                  </a:cubicBezTo>
                  <a:cubicBezTo>
                    <a:pt x="5" y="13"/>
                    <a:pt x="4" y="7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8981058" y="247140"/>
              <a:ext cx="65118" cy="106556"/>
            </a:xfrm>
            <a:custGeom>
              <a:avLst/>
              <a:gdLst>
                <a:gd name="T0" fmla="*/ 280 w 324"/>
                <a:gd name="T1" fmla="*/ 0 h 526"/>
                <a:gd name="T2" fmla="*/ 97 w 324"/>
                <a:gd name="T3" fmla="*/ 183 h 526"/>
                <a:gd name="T4" fmla="*/ 96 w 324"/>
                <a:gd name="T5" fmla="*/ 213 h 526"/>
                <a:gd name="T6" fmla="*/ 324 w 324"/>
                <a:gd name="T7" fmla="*/ 519 h 526"/>
                <a:gd name="T8" fmla="*/ 219 w 324"/>
                <a:gd name="T9" fmla="*/ 520 h 526"/>
                <a:gd name="T10" fmla="*/ 135 w 324"/>
                <a:gd name="T11" fmla="*/ 470 h 526"/>
                <a:gd name="T12" fmla="*/ 12 w 324"/>
                <a:gd name="T13" fmla="*/ 271 h 526"/>
                <a:gd name="T14" fmla="*/ 14 w 324"/>
                <a:gd name="T15" fmla="*/ 226 h 526"/>
                <a:gd name="T16" fmla="*/ 168 w 324"/>
                <a:gd name="T17" fmla="*/ 14 h 526"/>
                <a:gd name="T18" fmla="*/ 185 w 324"/>
                <a:gd name="T19" fmla="*/ 1 h 526"/>
                <a:gd name="T20" fmla="*/ 280 w 324"/>
                <a:gd name="T21" fmla="*/ 0 h 5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4" h="526">
                  <a:moveTo>
                    <a:pt x="280" y="0"/>
                  </a:moveTo>
                  <a:cubicBezTo>
                    <a:pt x="219" y="62"/>
                    <a:pt x="158" y="123"/>
                    <a:pt x="97" y="183"/>
                  </a:cubicBezTo>
                  <a:cubicBezTo>
                    <a:pt x="87" y="194"/>
                    <a:pt x="88" y="201"/>
                    <a:pt x="96" y="213"/>
                  </a:cubicBezTo>
                  <a:cubicBezTo>
                    <a:pt x="172" y="314"/>
                    <a:pt x="248" y="417"/>
                    <a:pt x="324" y="519"/>
                  </a:cubicBezTo>
                  <a:cubicBezTo>
                    <a:pt x="292" y="519"/>
                    <a:pt x="255" y="516"/>
                    <a:pt x="219" y="520"/>
                  </a:cubicBezTo>
                  <a:cubicBezTo>
                    <a:pt x="175" y="526"/>
                    <a:pt x="155" y="508"/>
                    <a:pt x="135" y="470"/>
                  </a:cubicBezTo>
                  <a:cubicBezTo>
                    <a:pt x="99" y="401"/>
                    <a:pt x="54" y="337"/>
                    <a:pt x="12" y="271"/>
                  </a:cubicBezTo>
                  <a:cubicBezTo>
                    <a:pt x="1" y="254"/>
                    <a:pt x="0" y="244"/>
                    <a:pt x="14" y="226"/>
                  </a:cubicBezTo>
                  <a:cubicBezTo>
                    <a:pt x="67" y="157"/>
                    <a:pt x="117" y="85"/>
                    <a:pt x="168" y="14"/>
                  </a:cubicBezTo>
                  <a:cubicBezTo>
                    <a:pt x="172" y="8"/>
                    <a:pt x="179" y="1"/>
                    <a:pt x="185" y="1"/>
                  </a:cubicBezTo>
                  <a:cubicBezTo>
                    <a:pt x="218" y="0"/>
                    <a:pt x="250" y="0"/>
                    <a:pt x="28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8" name="Freeform 17"/>
            <p:cNvSpPr>
              <a:spLocks/>
            </p:cNvSpPr>
            <p:nvPr/>
          </p:nvSpPr>
          <p:spPr bwMode="auto">
            <a:xfrm>
              <a:off x="8017613" y="250100"/>
              <a:ext cx="184253" cy="79177"/>
            </a:xfrm>
            <a:custGeom>
              <a:avLst/>
              <a:gdLst>
                <a:gd name="T0" fmla="*/ 15 w 916"/>
                <a:gd name="T1" fmla="*/ 172 h 395"/>
                <a:gd name="T2" fmla="*/ 275 w 916"/>
                <a:gd name="T3" fmla="*/ 322 h 395"/>
                <a:gd name="T4" fmla="*/ 321 w 916"/>
                <a:gd name="T5" fmla="*/ 323 h 395"/>
                <a:gd name="T6" fmla="*/ 863 w 916"/>
                <a:gd name="T7" fmla="*/ 10 h 395"/>
                <a:gd name="T8" fmla="*/ 898 w 916"/>
                <a:gd name="T9" fmla="*/ 17 h 395"/>
                <a:gd name="T10" fmla="*/ 916 w 916"/>
                <a:gd name="T11" fmla="*/ 41 h 395"/>
                <a:gd name="T12" fmla="*/ 783 w 916"/>
                <a:gd name="T13" fmla="*/ 118 h 395"/>
                <a:gd name="T14" fmla="*/ 318 w 916"/>
                <a:gd name="T15" fmla="*/ 386 h 395"/>
                <a:gd name="T16" fmla="*/ 277 w 916"/>
                <a:gd name="T17" fmla="*/ 385 h 395"/>
                <a:gd name="T18" fmla="*/ 20 w 916"/>
                <a:gd name="T19" fmla="*/ 237 h 395"/>
                <a:gd name="T20" fmla="*/ 6 w 916"/>
                <a:gd name="T21" fmla="*/ 206 h 395"/>
                <a:gd name="T22" fmla="*/ 15 w 916"/>
                <a:gd name="T23" fmla="*/ 172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16" h="395">
                  <a:moveTo>
                    <a:pt x="15" y="172"/>
                  </a:moveTo>
                  <a:cubicBezTo>
                    <a:pt x="104" y="223"/>
                    <a:pt x="190" y="273"/>
                    <a:pt x="275" y="322"/>
                  </a:cubicBezTo>
                  <a:cubicBezTo>
                    <a:pt x="291" y="331"/>
                    <a:pt x="303" y="333"/>
                    <a:pt x="321" y="323"/>
                  </a:cubicBezTo>
                  <a:cubicBezTo>
                    <a:pt x="501" y="218"/>
                    <a:pt x="682" y="114"/>
                    <a:pt x="863" y="10"/>
                  </a:cubicBezTo>
                  <a:cubicBezTo>
                    <a:pt x="878" y="2"/>
                    <a:pt x="889" y="0"/>
                    <a:pt x="898" y="17"/>
                  </a:cubicBezTo>
                  <a:cubicBezTo>
                    <a:pt x="902" y="25"/>
                    <a:pt x="908" y="31"/>
                    <a:pt x="916" y="41"/>
                  </a:cubicBezTo>
                  <a:cubicBezTo>
                    <a:pt x="871" y="67"/>
                    <a:pt x="827" y="93"/>
                    <a:pt x="783" y="118"/>
                  </a:cubicBezTo>
                  <a:cubicBezTo>
                    <a:pt x="628" y="207"/>
                    <a:pt x="473" y="296"/>
                    <a:pt x="318" y="386"/>
                  </a:cubicBezTo>
                  <a:cubicBezTo>
                    <a:pt x="302" y="395"/>
                    <a:pt x="291" y="393"/>
                    <a:pt x="277" y="385"/>
                  </a:cubicBezTo>
                  <a:cubicBezTo>
                    <a:pt x="191" y="336"/>
                    <a:pt x="106" y="286"/>
                    <a:pt x="20" y="237"/>
                  </a:cubicBezTo>
                  <a:cubicBezTo>
                    <a:pt x="6" y="230"/>
                    <a:pt x="0" y="222"/>
                    <a:pt x="6" y="206"/>
                  </a:cubicBezTo>
                  <a:cubicBezTo>
                    <a:pt x="10" y="196"/>
                    <a:pt x="12" y="185"/>
                    <a:pt x="15" y="1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9" name="Freeform 18"/>
            <p:cNvSpPr>
              <a:spLocks/>
            </p:cNvSpPr>
            <p:nvPr/>
          </p:nvSpPr>
          <p:spPr bwMode="auto">
            <a:xfrm>
              <a:off x="8023533" y="233081"/>
              <a:ext cx="162794" cy="71037"/>
            </a:xfrm>
            <a:custGeom>
              <a:avLst/>
              <a:gdLst>
                <a:gd name="T0" fmla="*/ 31 w 811"/>
                <a:gd name="T1" fmla="*/ 156 h 352"/>
                <a:gd name="T2" fmla="*/ 252 w 811"/>
                <a:gd name="T3" fmla="*/ 281 h 352"/>
                <a:gd name="T4" fmla="*/ 284 w 811"/>
                <a:gd name="T5" fmla="*/ 283 h 352"/>
                <a:gd name="T6" fmla="*/ 681 w 811"/>
                <a:gd name="T7" fmla="*/ 56 h 352"/>
                <a:gd name="T8" fmla="*/ 738 w 811"/>
                <a:gd name="T9" fmla="*/ 23 h 352"/>
                <a:gd name="T10" fmla="*/ 811 w 811"/>
                <a:gd name="T11" fmla="*/ 42 h 352"/>
                <a:gd name="T12" fmla="*/ 640 w 811"/>
                <a:gd name="T13" fmla="*/ 141 h 352"/>
                <a:gd name="T14" fmla="*/ 300 w 811"/>
                <a:gd name="T15" fmla="*/ 337 h 352"/>
                <a:gd name="T16" fmla="*/ 242 w 811"/>
                <a:gd name="T17" fmla="*/ 339 h 352"/>
                <a:gd name="T18" fmla="*/ 42 w 811"/>
                <a:gd name="T19" fmla="*/ 223 h 352"/>
                <a:gd name="T20" fmla="*/ 31 w 811"/>
                <a:gd name="T21" fmla="*/ 156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11" h="352">
                  <a:moveTo>
                    <a:pt x="31" y="156"/>
                  </a:moveTo>
                  <a:cubicBezTo>
                    <a:pt x="105" y="198"/>
                    <a:pt x="178" y="240"/>
                    <a:pt x="252" y="281"/>
                  </a:cubicBezTo>
                  <a:cubicBezTo>
                    <a:pt x="261" y="286"/>
                    <a:pt x="276" y="287"/>
                    <a:pt x="284" y="283"/>
                  </a:cubicBezTo>
                  <a:cubicBezTo>
                    <a:pt x="417" y="208"/>
                    <a:pt x="549" y="132"/>
                    <a:pt x="681" y="56"/>
                  </a:cubicBezTo>
                  <a:cubicBezTo>
                    <a:pt x="700" y="45"/>
                    <a:pt x="719" y="35"/>
                    <a:pt x="738" y="23"/>
                  </a:cubicBezTo>
                  <a:cubicBezTo>
                    <a:pt x="777" y="0"/>
                    <a:pt x="783" y="2"/>
                    <a:pt x="811" y="42"/>
                  </a:cubicBezTo>
                  <a:cubicBezTo>
                    <a:pt x="754" y="75"/>
                    <a:pt x="697" y="108"/>
                    <a:pt x="640" y="141"/>
                  </a:cubicBezTo>
                  <a:cubicBezTo>
                    <a:pt x="526" y="207"/>
                    <a:pt x="413" y="271"/>
                    <a:pt x="300" y="337"/>
                  </a:cubicBezTo>
                  <a:cubicBezTo>
                    <a:pt x="279" y="349"/>
                    <a:pt x="263" y="352"/>
                    <a:pt x="242" y="339"/>
                  </a:cubicBezTo>
                  <a:cubicBezTo>
                    <a:pt x="176" y="299"/>
                    <a:pt x="109" y="262"/>
                    <a:pt x="42" y="223"/>
                  </a:cubicBezTo>
                  <a:cubicBezTo>
                    <a:pt x="0" y="199"/>
                    <a:pt x="0" y="199"/>
                    <a:pt x="31" y="1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20" name="Freeform 19"/>
            <p:cNvSpPr>
              <a:spLocks/>
            </p:cNvSpPr>
            <p:nvPr/>
          </p:nvSpPr>
          <p:spPr bwMode="auto">
            <a:xfrm>
              <a:off x="8035372" y="219761"/>
              <a:ext cx="132455" cy="58458"/>
            </a:xfrm>
            <a:custGeom>
              <a:avLst/>
              <a:gdLst>
                <a:gd name="T0" fmla="*/ 0 w 660"/>
                <a:gd name="T1" fmla="*/ 174 h 291"/>
                <a:gd name="T2" fmla="*/ 35 w 660"/>
                <a:gd name="T3" fmla="*/ 134 h 291"/>
                <a:gd name="T4" fmla="*/ 182 w 660"/>
                <a:gd name="T5" fmla="*/ 219 h 291"/>
                <a:gd name="T6" fmla="*/ 236 w 660"/>
                <a:gd name="T7" fmla="*/ 220 h 291"/>
                <a:gd name="T8" fmla="*/ 575 w 660"/>
                <a:gd name="T9" fmla="*/ 23 h 291"/>
                <a:gd name="T10" fmla="*/ 660 w 660"/>
                <a:gd name="T11" fmla="*/ 36 h 291"/>
                <a:gd name="T12" fmla="*/ 507 w 660"/>
                <a:gd name="T13" fmla="*/ 124 h 291"/>
                <a:gd name="T14" fmla="*/ 228 w 660"/>
                <a:gd name="T15" fmla="*/ 284 h 291"/>
                <a:gd name="T16" fmla="*/ 195 w 660"/>
                <a:gd name="T17" fmla="*/ 287 h 291"/>
                <a:gd name="T18" fmla="*/ 0 w 660"/>
                <a:gd name="T19" fmla="*/ 174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60" h="291">
                  <a:moveTo>
                    <a:pt x="0" y="174"/>
                  </a:moveTo>
                  <a:cubicBezTo>
                    <a:pt x="12" y="160"/>
                    <a:pt x="24" y="147"/>
                    <a:pt x="35" y="134"/>
                  </a:cubicBezTo>
                  <a:cubicBezTo>
                    <a:pt x="86" y="163"/>
                    <a:pt x="135" y="190"/>
                    <a:pt x="182" y="219"/>
                  </a:cubicBezTo>
                  <a:cubicBezTo>
                    <a:pt x="201" y="231"/>
                    <a:pt x="216" y="231"/>
                    <a:pt x="236" y="220"/>
                  </a:cubicBezTo>
                  <a:cubicBezTo>
                    <a:pt x="349" y="154"/>
                    <a:pt x="463" y="91"/>
                    <a:pt x="575" y="23"/>
                  </a:cubicBezTo>
                  <a:cubicBezTo>
                    <a:pt x="611" y="0"/>
                    <a:pt x="629" y="24"/>
                    <a:pt x="660" y="36"/>
                  </a:cubicBezTo>
                  <a:cubicBezTo>
                    <a:pt x="606" y="67"/>
                    <a:pt x="557" y="95"/>
                    <a:pt x="507" y="124"/>
                  </a:cubicBezTo>
                  <a:cubicBezTo>
                    <a:pt x="414" y="177"/>
                    <a:pt x="322" y="231"/>
                    <a:pt x="228" y="284"/>
                  </a:cubicBezTo>
                  <a:cubicBezTo>
                    <a:pt x="219" y="289"/>
                    <a:pt x="204" y="291"/>
                    <a:pt x="195" y="287"/>
                  </a:cubicBezTo>
                  <a:cubicBezTo>
                    <a:pt x="130" y="251"/>
                    <a:pt x="66" y="213"/>
                    <a:pt x="0" y="17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</p:grpSp>
      <p:cxnSp>
        <p:nvCxnSpPr>
          <p:cNvPr id="21" name="Straight Connector 9"/>
          <p:cNvCxnSpPr/>
          <p:nvPr/>
        </p:nvCxnSpPr>
        <p:spPr>
          <a:xfrm>
            <a:off x="0" y="977900"/>
            <a:ext cx="12192000" cy="0"/>
          </a:xfrm>
          <a:prstGeom prst="line">
            <a:avLst/>
          </a:prstGeom>
          <a:ln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 userDrawn="1"/>
        </p:nvSpPr>
        <p:spPr>
          <a:xfrm>
            <a:off x="11472863" y="6453188"/>
            <a:ext cx="719137" cy="338137"/>
          </a:xfrm>
          <a:prstGeom prst="rect">
            <a:avLst/>
          </a:prstGeom>
          <a:noFill/>
        </p:spPr>
        <p:txBody>
          <a:bodyPr lIns="121917" tIns="60958" rIns="121917" bIns="60958">
            <a:spAutoFit/>
          </a:bodyPr>
          <a:lstStyle>
            <a:defPPr>
              <a:defRPr lang="ru-RU"/>
            </a:defPPr>
            <a:lvl1pPr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1219170" fontAlgn="auto">
              <a:spcBef>
                <a:spcPts val="0"/>
              </a:spcBef>
              <a:spcAft>
                <a:spcPts val="0"/>
              </a:spcAft>
              <a:defRPr/>
            </a:pPr>
            <a:fld id="{746D0519-EE10-41F6-806A-5CEC55F05134}" type="slidenum">
              <a:rPr lang="ru-RU" smtClean="0">
                <a:solidFill>
                  <a:srgbClr val="000000"/>
                </a:solidFill>
              </a:rPr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13" y="84682"/>
            <a:ext cx="12191988" cy="734047"/>
          </a:xfrm>
        </p:spPr>
        <p:txBody>
          <a:bodyPr/>
          <a:lstStyle>
            <a:lvl1pPr>
              <a:defRPr sz="5300">
                <a:solidFill>
                  <a:srgbClr val="000000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389667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F0021C4-63AA-4F64-BABE-F98CE2DFCE95}" type="datetimeFigureOut">
              <a:rPr lang="ru-RU"/>
              <a:pPr>
                <a:defRPr/>
              </a:pPr>
              <a:t>07.09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ECE6018-64A6-4205-BD84-18EA6AF837E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371888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4E5477E-1FAD-4CF1-8F04-C866C2BB42EB}" type="datetimeFigureOut">
              <a:rPr lang="ru-RU"/>
              <a:pPr>
                <a:defRPr/>
              </a:pPr>
              <a:t>07.09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8B90C15-CF30-4507-87FE-2D995DDC84B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111384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C832CAB-ADCF-4325-96DC-208F31CB878C}" type="datetimeFigureOut">
              <a:rPr lang="ru-RU"/>
              <a:pPr>
                <a:defRPr/>
              </a:pPr>
              <a:t>07.09.2021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1AF1D7E-75B9-4342-811C-640BA4DA05B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503012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26708A3-14C0-4B37-AF23-B47B964EEB42}" type="datetimeFigureOut">
              <a:rPr lang="ru-RU"/>
              <a:pPr>
                <a:defRPr/>
              </a:pPr>
              <a:t>07.09.2021</a:t>
            </a:fld>
            <a:endParaRPr lang="ru-RU" dirty="0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6A91E09-8489-4195-B448-194CA7265749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923901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A0408F5-101B-4897-BE45-E82FD7D4F2EF}" type="datetimeFigureOut">
              <a:rPr lang="ru-RU"/>
              <a:pPr>
                <a:defRPr/>
              </a:pPr>
              <a:t>07.09.2021</a:t>
            </a:fld>
            <a:endParaRPr lang="ru-RU" dirty="0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805E52-2E1F-4854-AEE8-A1CD82220157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667238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Группа 4"/>
          <p:cNvGrpSpPr/>
          <p:nvPr userDrawn="1"/>
        </p:nvGrpSpPr>
        <p:grpSpPr>
          <a:xfrm>
            <a:off x="38100" y="69900"/>
            <a:ext cx="12153900" cy="965681"/>
            <a:chOff x="19050" y="69900"/>
            <a:chExt cx="12153900" cy="965681"/>
          </a:xfrm>
        </p:grpSpPr>
        <p:sp>
          <p:nvSpPr>
            <p:cNvPr id="6" name="Прямоугольник с двумя скругленными противолежащими углами 5"/>
            <p:cNvSpPr/>
            <p:nvPr/>
          </p:nvSpPr>
          <p:spPr>
            <a:xfrm>
              <a:off x="19050" y="69900"/>
              <a:ext cx="11849100" cy="835563"/>
            </a:xfrm>
            <a:prstGeom prst="round2DiagRect">
              <a:avLst/>
            </a:prstGeom>
            <a:solidFill>
              <a:schemeClr val="accent6">
                <a:lumMod val="7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" name="Прямоугольник с двумя скругленными противолежащими углами 6"/>
            <p:cNvSpPr/>
            <p:nvPr/>
          </p:nvSpPr>
          <p:spPr>
            <a:xfrm>
              <a:off x="171450" y="128848"/>
              <a:ext cx="11849100" cy="835563"/>
            </a:xfrm>
            <a:prstGeom prst="round2DiagRect">
              <a:avLst/>
            </a:prstGeom>
            <a:solidFill>
              <a:schemeClr val="bg1">
                <a:lumMod val="75000"/>
              </a:schemeClr>
            </a:solidFill>
            <a:ln w="12700" cap="flat" cmpd="sng" algn="ctr">
              <a:noFill/>
              <a:prstDash val="solid"/>
              <a:miter lim="800000"/>
            </a:ln>
            <a:effectLst>
              <a:outerShdw blurRad="50800" dist="38100" dir="16200000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" name="Прямоугольник с двумя скругленными противолежащими углами 7"/>
            <p:cNvSpPr/>
            <p:nvPr/>
          </p:nvSpPr>
          <p:spPr>
            <a:xfrm>
              <a:off x="323850" y="200018"/>
              <a:ext cx="11849100" cy="835563"/>
            </a:xfrm>
            <a:prstGeom prst="round2DiagRect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</a:ln>
            <a:effectLst>
              <a:outerShdw blurRad="254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9" name="Группа 8"/>
          <p:cNvGrpSpPr/>
          <p:nvPr userDrawn="1"/>
        </p:nvGrpSpPr>
        <p:grpSpPr>
          <a:xfrm>
            <a:off x="403130" y="325496"/>
            <a:ext cx="1293037" cy="504825"/>
            <a:chOff x="342900" y="292100"/>
            <a:chExt cx="1293037" cy="504825"/>
          </a:xfrm>
        </p:grpSpPr>
        <p:pic>
          <p:nvPicPr>
            <p:cNvPr id="10" name="Picture 2" descr="C:\Users\User\Desktop\logo.png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2900" y="292100"/>
              <a:ext cx="450850" cy="504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1" name="Прямоугольник 1"/>
            <p:cNvSpPr>
              <a:spLocks noChangeArrowheads="1"/>
            </p:cNvSpPr>
            <p:nvPr/>
          </p:nvSpPr>
          <p:spPr bwMode="auto">
            <a:xfrm>
              <a:off x="802500" y="292100"/>
              <a:ext cx="833437" cy="460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lnSpc>
                  <a:spcPct val="90000"/>
                </a:lnSpc>
                <a:spcBef>
                  <a:spcPts val="1000"/>
                </a:spcBef>
                <a:buFont typeface="Arial" charset="0"/>
                <a:buChar char="•"/>
                <a:defRPr sz="28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ts val="5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ts val="500"/>
                </a:spcBef>
                <a:buFont typeface="Arial" charset="0"/>
                <a:buChar char="•"/>
                <a:defRPr sz="20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ts val="500"/>
                </a:spcBef>
                <a:buFont typeface="Arial" charset="0"/>
                <a:buChar char="•"/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ts val="500"/>
                </a:spcBef>
                <a:buFont typeface="Arial" charset="0"/>
                <a:buChar char="•"/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charset="0"/>
                <a:buChar char="•"/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charset="0"/>
                <a:buChar char="•"/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charset="0"/>
                <a:buChar char="•"/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charset="0"/>
                <a:buChar char="•"/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ru-RU" altLang="ru-RU" sz="1200" dirty="0">
                  <a:solidFill>
                    <a:srgbClr val="F2AC44"/>
                  </a:solidFill>
                </a:rPr>
                <a:t>Липецкая 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ru-RU" altLang="ru-RU" sz="1200" dirty="0">
                  <a:solidFill>
                    <a:srgbClr val="F2AC44"/>
                  </a:solidFill>
                </a:rPr>
                <a:t>область</a:t>
              </a:r>
            </a:p>
          </p:txBody>
        </p:sp>
      </p:grpSp>
      <p:grpSp>
        <p:nvGrpSpPr>
          <p:cNvPr id="20" name="Группа 19"/>
          <p:cNvGrpSpPr/>
          <p:nvPr userDrawn="1"/>
        </p:nvGrpSpPr>
        <p:grpSpPr>
          <a:xfrm>
            <a:off x="49157" y="6386737"/>
            <a:ext cx="12071385" cy="426716"/>
            <a:chOff x="255412" y="6300477"/>
            <a:chExt cx="11863784" cy="426716"/>
          </a:xfrm>
        </p:grpSpPr>
        <p:grpSp>
          <p:nvGrpSpPr>
            <p:cNvPr id="12" name="Группа 11"/>
            <p:cNvGrpSpPr/>
            <p:nvPr userDrawn="1"/>
          </p:nvGrpSpPr>
          <p:grpSpPr>
            <a:xfrm>
              <a:off x="257971" y="6300477"/>
              <a:ext cx="11857795" cy="369202"/>
              <a:chOff x="412646" y="5831885"/>
              <a:chExt cx="11828218" cy="691153"/>
            </a:xfrm>
            <a:solidFill>
              <a:schemeClr val="accent6">
                <a:lumMod val="75000"/>
              </a:schemeClr>
            </a:solidFill>
          </p:grpSpPr>
          <p:sp>
            <p:nvSpPr>
              <p:cNvPr id="13" name="Параллелограмм 3"/>
              <p:cNvSpPr/>
              <p:nvPr userDrawn="1"/>
            </p:nvSpPr>
            <p:spPr>
              <a:xfrm>
                <a:off x="8973875" y="5831885"/>
                <a:ext cx="347873" cy="674414"/>
              </a:xfrm>
              <a:custGeom>
                <a:avLst/>
                <a:gdLst>
                  <a:gd name="connsiteX0" fmla="*/ 0 w 202018"/>
                  <a:gd name="connsiteY0" fmla="*/ 684000 h 684000"/>
                  <a:gd name="connsiteX1" fmla="*/ 50505 w 202018"/>
                  <a:gd name="connsiteY1" fmla="*/ 0 h 684000"/>
                  <a:gd name="connsiteX2" fmla="*/ 202018 w 202018"/>
                  <a:gd name="connsiteY2" fmla="*/ 0 h 684000"/>
                  <a:gd name="connsiteX3" fmla="*/ 151514 w 202018"/>
                  <a:gd name="connsiteY3" fmla="*/ 684000 h 684000"/>
                  <a:gd name="connsiteX4" fmla="*/ 0 w 202018"/>
                  <a:gd name="connsiteY4" fmla="*/ 684000 h 684000"/>
                  <a:gd name="connsiteX0" fmla="*/ 0 w 347873"/>
                  <a:gd name="connsiteY0" fmla="*/ 684000 h 684000"/>
                  <a:gd name="connsiteX1" fmla="*/ 50505 w 347873"/>
                  <a:gd name="connsiteY1" fmla="*/ 0 h 684000"/>
                  <a:gd name="connsiteX2" fmla="*/ 347873 w 347873"/>
                  <a:gd name="connsiteY2" fmla="*/ 11220 h 684000"/>
                  <a:gd name="connsiteX3" fmla="*/ 151514 w 347873"/>
                  <a:gd name="connsiteY3" fmla="*/ 684000 h 684000"/>
                  <a:gd name="connsiteX4" fmla="*/ 0 w 347873"/>
                  <a:gd name="connsiteY4" fmla="*/ 684000 h 684000"/>
                  <a:gd name="connsiteX0" fmla="*/ 0 w 347873"/>
                  <a:gd name="connsiteY0" fmla="*/ 672780 h 672780"/>
                  <a:gd name="connsiteX1" fmla="*/ 207580 w 347873"/>
                  <a:gd name="connsiteY1" fmla="*/ 5610 h 672780"/>
                  <a:gd name="connsiteX2" fmla="*/ 347873 w 347873"/>
                  <a:gd name="connsiteY2" fmla="*/ 0 h 672780"/>
                  <a:gd name="connsiteX3" fmla="*/ 151514 w 347873"/>
                  <a:gd name="connsiteY3" fmla="*/ 672780 h 672780"/>
                  <a:gd name="connsiteX4" fmla="*/ 0 w 347873"/>
                  <a:gd name="connsiteY4" fmla="*/ 672780 h 672780"/>
                  <a:gd name="connsiteX0" fmla="*/ 0 w 347873"/>
                  <a:gd name="connsiteY0" fmla="*/ 678390 h 678390"/>
                  <a:gd name="connsiteX1" fmla="*/ 185141 w 347873"/>
                  <a:gd name="connsiteY1" fmla="*/ 0 h 678390"/>
                  <a:gd name="connsiteX2" fmla="*/ 347873 w 347873"/>
                  <a:gd name="connsiteY2" fmla="*/ 5610 h 678390"/>
                  <a:gd name="connsiteX3" fmla="*/ 151514 w 347873"/>
                  <a:gd name="connsiteY3" fmla="*/ 678390 h 678390"/>
                  <a:gd name="connsiteX4" fmla="*/ 0 w 347873"/>
                  <a:gd name="connsiteY4" fmla="*/ 678390 h 678390"/>
                  <a:gd name="connsiteX0" fmla="*/ 0 w 347873"/>
                  <a:gd name="connsiteY0" fmla="*/ 674414 h 674414"/>
                  <a:gd name="connsiteX1" fmla="*/ 201043 w 347873"/>
                  <a:gd name="connsiteY1" fmla="*/ 0 h 674414"/>
                  <a:gd name="connsiteX2" fmla="*/ 347873 w 347873"/>
                  <a:gd name="connsiteY2" fmla="*/ 1634 h 674414"/>
                  <a:gd name="connsiteX3" fmla="*/ 151514 w 347873"/>
                  <a:gd name="connsiteY3" fmla="*/ 674414 h 674414"/>
                  <a:gd name="connsiteX4" fmla="*/ 0 w 347873"/>
                  <a:gd name="connsiteY4" fmla="*/ 674414 h 6744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7873" h="674414">
                    <a:moveTo>
                      <a:pt x="0" y="674414"/>
                    </a:moveTo>
                    <a:lnTo>
                      <a:pt x="201043" y="0"/>
                    </a:lnTo>
                    <a:lnTo>
                      <a:pt x="347873" y="1634"/>
                    </a:lnTo>
                    <a:lnTo>
                      <a:pt x="151514" y="674414"/>
                    </a:lnTo>
                    <a:lnTo>
                      <a:pt x="0" y="67441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14" name="Прямоугольник 13"/>
              <p:cNvSpPr/>
              <p:nvPr/>
            </p:nvSpPr>
            <p:spPr>
              <a:xfrm>
                <a:off x="412646" y="6408682"/>
                <a:ext cx="8717275" cy="114356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15" name="Прямоугольник 14"/>
              <p:cNvSpPr/>
              <p:nvPr/>
            </p:nvSpPr>
            <p:spPr>
              <a:xfrm>
                <a:off x="9276283" y="5832130"/>
                <a:ext cx="2964581" cy="114356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</p:grpSp>
        <p:grpSp>
          <p:nvGrpSpPr>
            <p:cNvPr id="16" name="Группа 15"/>
            <p:cNvGrpSpPr/>
            <p:nvPr userDrawn="1"/>
          </p:nvGrpSpPr>
          <p:grpSpPr>
            <a:xfrm>
              <a:off x="255412" y="6357991"/>
              <a:ext cx="11863784" cy="369202"/>
              <a:chOff x="283887" y="5848033"/>
              <a:chExt cx="11834186" cy="691153"/>
            </a:xfrm>
            <a:solidFill>
              <a:schemeClr val="bg1">
                <a:lumMod val="75000"/>
              </a:schemeClr>
            </a:solidFill>
          </p:grpSpPr>
          <p:sp>
            <p:nvSpPr>
              <p:cNvPr id="17" name="Параллелограмм 3"/>
              <p:cNvSpPr/>
              <p:nvPr/>
            </p:nvSpPr>
            <p:spPr>
              <a:xfrm>
                <a:off x="8965418" y="5848033"/>
                <a:ext cx="347873" cy="674413"/>
              </a:xfrm>
              <a:custGeom>
                <a:avLst/>
                <a:gdLst>
                  <a:gd name="connsiteX0" fmla="*/ 0 w 202018"/>
                  <a:gd name="connsiteY0" fmla="*/ 684000 h 684000"/>
                  <a:gd name="connsiteX1" fmla="*/ 50505 w 202018"/>
                  <a:gd name="connsiteY1" fmla="*/ 0 h 684000"/>
                  <a:gd name="connsiteX2" fmla="*/ 202018 w 202018"/>
                  <a:gd name="connsiteY2" fmla="*/ 0 h 684000"/>
                  <a:gd name="connsiteX3" fmla="*/ 151514 w 202018"/>
                  <a:gd name="connsiteY3" fmla="*/ 684000 h 684000"/>
                  <a:gd name="connsiteX4" fmla="*/ 0 w 202018"/>
                  <a:gd name="connsiteY4" fmla="*/ 684000 h 684000"/>
                  <a:gd name="connsiteX0" fmla="*/ 0 w 347873"/>
                  <a:gd name="connsiteY0" fmla="*/ 684000 h 684000"/>
                  <a:gd name="connsiteX1" fmla="*/ 50505 w 347873"/>
                  <a:gd name="connsiteY1" fmla="*/ 0 h 684000"/>
                  <a:gd name="connsiteX2" fmla="*/ 347873 w 347873"/>
                  <a:gd name="connsiteY2" fmla="*/ 11220 h 684000"/>
                  <a:gd name="connsiteX3" fmla="*/ 151514 w 347873"/>
                  <a:gd name="connsiteY3" fmla="*/ 684000 h 684000"/>
                  <a:gd name="connsiteX4" fmla="*/ 0 w 347873"/>
                  <a:gd name="connsiteY4" fmla="*/ 684000 h 684000"/>
                  <a:gd name="connsiteX0" fmla="*/ 0 w 347873"/>
                  <a:gd name="connsiteY0" fmla="*/ 672780 h 672780"/>
                  <a:gd name="connsiteX1" fmla="*/ 207580 w 347873"/>
                  <a:gd name="connsiteY1" fmla="*/ 5610 h 672780"/>
                  <a:gd name="connsiteX2" fmla="*/ 347873 w 347873"/>
                  <a:gd name="connsiteY2" fmla="*/ 0 h 672780"/>
                  <a:gd name="connsiteX3" fmla="*/ 151514 w 347873"/>
                  <a:gd name="connsiteY3" fmla="*/ 672780 h 672780"/>
                  <a:gd name="connsiteX4" fmla="*/ 0 w 347873"/>
                  <a:gd name="connsiteY4" fmla="*/ 672780 h 672780"/>
                  <a:gd name="connsiteX0" fmla="*/ 0 w 347873"/>
                  <a:gd name="connsiteY0" fmla="*/ 678390 h 678390"/>
                  <a:gd name="connsiteX1" fmla="*/ 185141 w 347873"/>
                  <a:gd name="connsiteY1" fmla="*/ 0 h 678390"/>
                  <a:gd name="connsiteX2" fmla="*/ 347873 w 347873"/>
                  <a:gd name="connsiteY2" fmla="*/ 5610 h 678390"/>
                  <a:gd name="connsiteX3" fmla="*/ 151514 w 347873"/>
                  <a:gd name="connsiteY3" fmla="*/ 678390 h 678390"/>
                  <a:gd name="connsiteX4" fmla="*/ 0 w 347873"/>
                  <a:gd name="connsiteY4" fmla="*/ 678390 h 678390"/>
                  <a:gd name="connsiteX0" fmla="*/ 0 w 347873"/>
                  <a:gd name="connsiteY0" fmla="*/ 674414 h 674414"/>
                  <a:gd name="connsiteX1" fmla="*/ 201043 w 347873"/>
                  <a:gd name="connsiteY1" fmla="*/ 0 h 674414"/>
                  <a:gd name="connsiteX2" fmla="*/ 347873 w 347873"/>
                  <a:gd name="connsiteY2" fmla="*/ 1634 h 674414"/>
                  <a:gd name="connsiteX3" fmla="*/ 151514 w 347873"/>
                  <a:gd name="connsiteY3" fmla="*/ 674414 h 674414"/>
                  <a:gd name="connsiteX4" fmla="*/ 0 w 347873"/>
                  <a:gd name="connsiteY4" fmla="*/ 674414 h 6744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7873" h="674414">
                    <a:moveTo>
                      <a:pt x="0" y="674414"/>
                    </a:moveTo>
                    <a:lnTo>
                      <a:pt x="201043" y="0"/>
                    </a:lnTo>
                    <a:lnTo>
                      <a:pt x="347873" y="1634"/>
                    </a:lnTo>
                    <a:lnTo>
                      <a:pt x="151514" y="674414"/>
                    </a:lnTo>
                    <a:lnTo>
                      <a:pt x="0" y="674414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18" name="Прямоугольник 17"/>
              <p:cNvSpPr/>
              <p:nvPr/>
            </p:nvSpPr>
            <p:spPr>
              <a:xfrm>
                <a:off x="283887" y="6424830"/>
                <a:ext cx="8823149" cy="114356"/>
              </a:xfrm>
              <a:prstGeom prst="rect">
                <a:avLst/>
              </a:prstGeom>
              <a:grpFill/>
              <a:ln>
                <a:noFill/>
              </a:ln>
              <a:effectLst>
                <a:outerShdw blurRad="381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19" name="Прямоугольник 18"/>
              <p:cNvSpPr/>
              <p:nvPr/>
            </p:nvSpPr>
            <p:spPr>
              <a:xfrm>
                <a:off x="9259371" y="5848278"/>
                <a:ext cx="2858702" cy="114356"/>
              </a:xfrm>
              <a:prstGeom prst="rect">
                <a:avLst/>
              </a:prstGeom>
              <a:grpFill/>
              <a:ln>
                <a:noFill/>
              </a:ln>
              <a:effectLst>
                <a:outerShdw blurRad="381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594217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F648444-2A7E-4ACB-B707-8CEA39D2F8D5}" type="datetimeFigureOut">
              <a:rPr lang="ru-RU"/>
              <a:pPr>
                <a:defRPr/>
              </a:pPr>
              <a:t>07.09.2021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A653D28-95EE-4953-BD8E-7E12D9C249D3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439334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AD00302-09B8-419F-9C37-B1D3A924EB40}" type="datetimeFigureOut">
              <a:rPr lang="ru-RU"/>
              <a:pPr>
                <a:defRPr/>
              </a:pPr>
              <a:t>07.09.2021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1362354-48BA-4A78-AE1E-1C49D9E5C2E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453029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2.xml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B60DDBF4-B050-41FF-A86F-D3C1A278CF9F}" type="datetimeFigureOut">
              <a:rPr lang="ru-RU"/>
              <a:pPr>
                <a:defRPr/>
              </a:pPr>
              <a:t>07.09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96358045-72D0-44A6-AC05-51CE2AB4785A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39" r:id="rId1"/>
    <p:sldLayoutId id="2147483840" r:id="rId2"/>
    <p:sldLayoutId id="2147483841" r:id="rId3"/>
    <p:sldLayoutId id="2147483842" r:id="rId4"/>
    <p:sldLayoutId id="2147483843" r:id="rId5"/>
    <p:sldLayoutId id="2147483844" r:id="rId6"/>
    <p:sldLayoutId id="2147483845" r:id="rId7"/>
    <p:sldLayoutId id="2147483846" r:id="rId8"/>
    <p:sldLayoutId id="2147483847" r:id="rId9"/>
    <p:sldLayoutId id="2147483848" r:id="rId10"/>
    <p:sldLayoutId id="2147483849" r:id="rId11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Объект 21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87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AutoShape 90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4" name="Прямая соединительная линия 23"/>
          <p:cNvCxnSpPr/>
          <p:nvPr userDrawn="1"/>
        </p:nvCxnSpPr>
        <p:spPr>
          <a:xfrm>
            <a:off x="0" y="552450"/>
            <a:ext cx="12199938" cy="0"/>
          </a:xfrm>
          <a:prstGeom prst="line">
            <a:avLst/>
          </a:prstGeom>
          <a:ln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" name="Группа 24"/>
          <p:cNvGrpSpPr/>
          <p:nvPr userDrawn="1"/>
        </p:nvGrpSpPr>
        <p:grpSpPr>
          <a:xfrm>
            <a:off x="10420004" y="103661"/>
            <a:ext cx="1682560" cy="394220"/>
            <a:chOff x="8014653" y="219761"/>
            <a:chExt cx="1033002" cy="204973"/>
          </a:xfrm>
          <a:solidFill>
            <a:schemeClr val="accent6">
              <a:lumMod val="60000"/>
              <a:lumOff val="40000"/>
            </a:schemeClr>
          </a:solidFill>
        </p:grpSpPr>
        <p:sp>
          <p:nvSpPr>
            <p:cNvPr id="26" name="Freeform 6"/>
            <p:cNvSpPr>
              <a:spLocks/>
            </p:cNvSpPr>
            <p:nvPr/>
          </p:nvSpPr>
          <p:spPr bwMode="auto">
            <a:xfrm>
              <a:off x="8014653" y="268599"/>
              <a:ext cx="209412" cy="156135"/>
            </a:xfrm>
            <a:custGeom>
              <a:avLst/>
              <a:gdLst>
                <a:gd name="T0" fmla="*/ 959 w 1043"/>
                <a:gd name="T1" fmla="*/ 0 h 775"/>
                <a:gd name="T2" fmla="*/ 892 w 1043"/>
                <a:gd name="T3" fmla="*/ 556 h 775"/>
                <a:gd name="T4" fmla="*/ 324 w 1043"/>
                <a:gd name="T5" fmla="*/ 693 h 775"/>
                <a:gd name="T6" fmla="*/ 10 w 1043"/>
                <a:gd name="T7" fmla="*/ 197 h 775"/>
                <a:gd name="T8" fmla="*/ 64 w 1043"/>
                <a:gd name="T9" fmla="*/ 225 h 775"/>
                <a:gd name="T10" fmla="*/ 296 w 1043"/>
                <a:gd name="T11" fmla="*/ 359 h 775"/>
                <a:gd name="T12" fmla="*/ 334 w 1043"/>
                <a:gd name="T13" fmla="*/ 359 h 775"/>
                <a:gd name="T14" fmla="*/ 771 w 1043"/>
                <a:gd name="T15" fmla="*/ 107 h 775"/>
                <a:gd name="T16" fmla="*/ 959 w 1043"/>
                <a:gd name="T17" fmla="*/ 0 h 7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43" h="775">
                  <a:moveTo>
                    <a:pt x="959" y="0"/>
                  </a:moveTo>
                  <a:cubicBezTo>
                    <a:pt x="1043" y="154"/>
                    <a:pt x="1037" y="391"/>
                    <a:pt x="892" y="556"/>
                  </a:cubicBezTo>
                  <a:cubicBezTo>
                    <a:pt x="749" y="719"/>
                    <a:pt x="528" y="775"/>
                    <a:pt x="324" y="693"/>
                  </a:cubicBezTo>
                  <a:cubicBezTo>
                    <a:pt x="120" y="611"/>
                    <a:pt x="0" y="417"/>
                    <a:pt x="10" y="197"/>
                  </a:cubicBezTo>
                  <a:cubicBezTo>
                    <a:pt x="29" y="207"/>
                    <a:pt x="47" y="215"/>
                    <a:pt x="64" y="225"/>
                  </a:cubicBezTo>
                  <a:cubicBezTo>
                    <a:pt x="141" y="270"/>
                    <a:pt x="219" y="314"/>
                    <a:pt x="296" y="359"/>
                  </a:cubicBezTo>
                  <a:cubicBezTo>
                    <a:pt x="310" y="368"/>
                    <a:pt x="320" y="367"/>
                    <a:pt x="334" y="359"/>
                  </a:cubicBezTo>
                  <a:cubicBezTo>
                    <a:pt x="479" y="275"/>
                    <a:pt x="625" y="191"/>
                    <a:pt x="771" y="107"/>
                  </a:cubicBezTo>
                  <a:cubicBezTo>
                    <a:pt x="833" y="72"/>
                    <a:pt x="895" y="36"/>
                    <a:pt x="95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27" name="Freeform 7"/>
            <p:cNvSpPr>
              <a:spLocks/>
            </p:cNvSpPr>
            <p:nvPr/>
          </p:nvSpPr>
          <p:spPr bwMode="auto">
            <a:xfrm>
              <a:off x="8278823" y="378855"/>
              <a:ext cx="768832" cy="9620"/>
            </a:xfrm>
            <a:custGeom>
              <a:avLst/>
              <a:gdLst>
                <a:gd name="T0" fmla="*/ 0 w 3824"/>
                <a:gd name="T1" fmla="*/ 49 h 49"/>
                <a:gd name="T2" fmla="*/ 0 w 3824"/>
                <a:gd name="T3" fmla="*/ 0 h 49"/>
                <a:gd name="T4" fmla="*/ 3824 w 3824"/>
                <a:gd name="T5" fmla="*/ 0 h 49"/>
                <a:gd name="T6" fmla="*/ 3824 w 3824"/>
                <a:gd name="T7" fmla="*/ 49 h 49"/>
                <a:gd name="T8" fmla="*/ 0 w 3824"/>
                <a:gd name="T9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24" h="49">
                  <a:moveTo>
                    <a:pt x="0" y="49"/>
                  </a:moveTo>
                  <a:cubicBezTo>
                    <a:pt x="0" y="32"/>
                    <a:pt x="0" y="17"/>
                    <a:pt x="0" y="0"/>
                  </a:cubicBezTo>
                  <a:cubicBezTo>
                    <a:pt x="1275" y="0"/>
                    <a:pt x="2549" y="0"/>
                    <a:pt x="3824" y="0"/>
                  </a:cubicBezTo>
                  <a:cubicBezTo>
                    <a:pt x="3824" y="17"/>
                    <a:pt x="3824" y="32"/>
                    <a:pt x="3824" y="49"/>
                  </a:cubicBezTo>
                  <a:cubicBezTo>
                    <a:pt x="2550" y="49"/>
                    <a:pt x="1276" y="49"/>
                    <a:pt x="0" y="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28" name="Freeform 8"/>
            <p:cNvSpPr>
              <a:spLocks/>
            </p:cNvSpPr>
            <p:nvPr/>
          </p:nvSpPr>
          <p:spPr bwMode="auto">
            <a:xfrm>
              <a:off x="8836023" y="247880"/>
              <a:ext cx="97676" cy="103596"/>
            </a:xfrm>
            <a:custGeom>
              <a:avLst/>
              <a:gdLst>
                <a:gd name="T0" fmla="*/ 479 w 486"/>
                <a:gd name="T1" fmla="*/ 514 h 514"/>
                <a:gd name="T2" fmla="*/ 315 w 486"/>
                <a:gd name="T3" fmla="*/ 514 h 514"/>
                <a:gd name="T4" fmla="*/ 314 w 486"/>
                <a:gd name="T5" fmla="*/ 507 h 514"/>
                <a:gd name="T6" fmla="*/ 345 w 486"/>
                <a:gd name="T7" fmla="*/ 433 h 514"/>
                <a:gd name="T8" fmla="*/ 345 w 486"/>
                <a:gd name="T9" fmla="*/ 251 h 514"/>
                <a:gd name="T10" fmla="*/ 140 w 486"/>
                <a:gd name="T11" fmla="*/ 251 h 514"/>
                <a:gd name="T12" fmla="*/ 140 w 486"/>
                <a:gd name="T13" fmla="*/ 311 h 514"/>
                <a:gd name="T14" fmla="*/ 140 w 486"/>
                <a:gd name="T15" fmla="*/ 439 h 514"/>
                <a:gd name="T16" fmla="*/ 170 w 486"/>
                <a:gd name="T17" fmla="*/ 513 h 514"/>
                <a:gd name="T18" fmla="*/ 0 w 486"/>
                <a:gd name="T19" fmla="*/ 513 h 514"/>
                <a:gd name="T20" fmla="*/ 28 w 486"/>
                <a:gd name="T21" fmla="*/ 431 h 514"/>
                <a:gd name="T22" fmla="*/ 29 w 486"/>
                <a:gd name="T23" fmla="*/ 63 h 514"/>
                <a:gd name="T24" fmla="*/ 1 w 486"/>
                <a:gd name="T25" fmla="*/ 10 h 514"/>
                <a:gd name="T26" fmla="*/ 0 w 486"/>
                <a:gd name="T27" fmla="*/ 0 h 514"/>
                <a:gd name="T28" fmla="*/ 167 w 486"/>
                <a:gd name="T29" fmla="*/ 0 h 514"/>
                <a:gd name="T30" fmla="*/ 168 w 486"/>
                <a:gd name="T31" fmla="*/ 7 h 514"/>
                <a:gd name="T32" fmla="*/ 140 w 486"/>
                <a:gd name="T33" fmla="*/ 73 h 514"/>
                <a:gd name="T34" fmla="*/ 140 w 486"/>
                <a:gd name="T35" fmla="*/ 217 h 514"/>
                <a:gd name="T36" fmla="*/ 331 w 486"/>
                <a:gd name="T37" fmla="*/ 216 h 514"/>
                <a:gd name="T38" fmla="*/ 344 w 486"/>
                <a:gd name="T39" fmla="*/ 198 h 514"/>
                <a:gd name="T40" fmla="*/ 344 w 486"/>
                <a:gd name="T41" fmla="*/ 51 h 514"/>
                <a:gd name="T42" fmla="*/ 323 w 486"/>
                <a:gd name="T43" fmla="*/ 15 h 514"/>
                <a:gd name="T44" fmla="*/ 306 w 486"/>
                <a:gd name="T45" fmla="*/ 0 h 514"/>
                <a:gd name="T46" fmla="*/ 486 w 486"/>
                <a:gd name="T47" fmla="*/ 0 h 514"/>
                <a:gd name="T48" fmla="*/ 476 w 486"/>
                <a:gd name="T49" fmla="*/ 13 h 514"/>
                <a:gd name="T50" fmla="*/ 452 w 486"/>
                <a:gd name="T51" fmla="*/ 56 h 514"/>
                <a:gd name="T52" fmla="*/ 453 w 486"/>
                <a:gd name="T53" fmla="*/ 459 h 514"/>
                <a:gd name="T54" fmla="*/ 479 w 486"/>
                <a:gd name="T55" fmla="*/ 514 h 5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86" h="514">
                  <a:moveTo>
                    <a:pt x="479" y="514"/>
                  </a:moveTo>
                  <a:cubicBezTo>
                    <a:pt x="426" y="514"/>
                    <a:pt x="370" y="514"/>
                    <a:pt x="315" y="514"/>
                  </a:cubicBezTo>
                  <a:cubicBezTo>
                    <a:pt x="314" y="511"/>
                    <a:pt x="313" y="508"/>
                    <a:pt x="314" y="507"/>
                  </a:cubicBezTo>
                  <a:cubicBezTo>
                    <a:pt x="346" y="492"/>
                    <a:pt x="345" y="463"/>
                    <a:pt x="345" y="433"/>
                  </a:cubicBezTo>
                  <a:cubicBezTo>
                    <a:pt x="344" y="373"/>
                    <a:pt x="345" y="313"/>
                    <a:pt x="345" y="251"/>
                  </a:cubicBezTo>
                  <a:cubicBezTo>
                    <a:pt x="276" y="251"/>
                    <a:pt x="210" y="251"/>
                    <a:pt x="140" y="251"/>
                  </a:cubicBezTo>
                  <a:cubicBezTo>
                    <a:pt x="140" y="271"/>
                    <a:pt x="140" y="291"/>
                    <a:pt x="140" y="311"/>
                  </a:cubicBezTo>
                  <a:cubicBezTo>
                    <a:pt x="140" y="354"/>
                    <a:pt x="140" y="397"/>
                    <a:pt x="140" y="439"/>
                  </a:cubicBezTo>
                  <a:cubicBezTo>
                    <a:pt x="140" y="479"/>
                    <a:pt x="140" y="479"/>
                    <a:pt x="170" y="513"/>
                  </a:cubicBezTo>
                  <a:cubicBezTo>
                    <a:pt x="112" y="513"/>
                    <a:pt x="56" y="513"/>
                    <a:pt x="0" y="513"/>
                  </a:cubicBezTo>
                  <a:cubicBezTo>
                    <a:pt x="39" y="494"/>
                    <a:pt x="28" y="460"/>
                    <a:pt x="28" y="431"/>
                  </a:cubicBezTo>
                  <a:cubicBezTo>
                    <a:pt x="28" y="308"/>
                    <a:pt x="28" y="185"/>
                    <a:pt x="29" y="63"/>
                  </a:cubicBezTo>
                  <a:cubicBezTo>
                    <a:pt x="29" y="39"/>
                    <a:pt x="29" y="18"/>
                    <a:pt x="1" y="10"/>
                  </a:cubicBezTo>
                  <a:cubicBezTo>
                    <a:pt x="0" y="9"/>
                    <a:pt x="0" y="5"/>
                    <a:pt x="0" y="0"/>
                  </a:cubicBezTo>
                  <a:cubicBezTo>
                    <a:pt x="56" y="0"/>
                    <a:pt x="112" y="0"/>
                    <a:pt x="167" y="0"/>
                  </a:cubicBezTo>
                  <a:cubicBezTo>
                    <a:pt x="168" y="4"/>
                    <a:pt x="168" y="7"/>
                    <a:pt x="168" y="7"/>
                  </a:cubicBezTo>
                  <a:cubicBezTo>
                    <a:pt x="135" y="19"/>
                    <a:pt x="139" y="47"/>
                    <a:pt x="140" y="73"/>
                  </a:cubicBezTo>
                  <a:cubicBezTo>
                    <a:pt x="140" y="120"/>
                    <a:pt x="140" y="167"/>
                    <a:pt x="140" y="217"/>
                  </a:cubicBezTo>
                  <a:cubicBezTo>
                    <a:pt x="205" y="217"/>
                    <a:pt x="268" y="217"/>
                    <a:pt x="331" y="216"/>
                  </a:cubicBezTo>
                  <a:cubicBezTo>
                    <a:pt x="336" y="216"/>
                    <a:pt x="344" y="204"/>
                    <a:pt x="344" y="198"/>
                  </a:cubicBezTo>
                  <a:cubicBezTo>
                    <a:pt x="345" y="149"/>
                    <a:pt x="346" y="100"/>
                    <a:pt x="344" y="51"/>
                  </a:cubicBezTo>
                  <a:cubicBezTo>
                    <a:pt x="343" y="39"/>
                    <a:pt x="330" y="27"/>
                    <a:pt x="323" y="15"/>
                  </a:cubicBezTo>
                  <a:cubicBezTo>
                    <a:pt x="320" y="11"/>
                    <a:pt x="315" y="8"/>
                    <a:pt x="306" y="0"/>
                  </a:cubicBezTo>
                  <a:cubicBezTo>
                    <a:pt x="370" y="0"/>
                    <a:pt x="426" y="0"/>
                    <a:pt x="486" y="0"/>
                  </a:cubicBezTo>
                  <a:cubicBezTo>
                    <a:pt x="482" y="6"/>
                    <a:pt x="480" y="12"/>
                    <a:pt x="476" y="13"/>
                  </a:cubicBezTo>
                  <a:cubicBezTo>
                    <a:pt x="456" y="21"/>
                    <a:pt x="452" y="37"/>
                    <a:pt x="452" y="56"/>
                  </a:cubicBezTo>
                  <a:cubicBezTo>
                    <a:pt x="452" y="190"/>
                    <a:pt x="451" y="325"/>
                    <a:pt x="453" y="459"/>
                  </a:cubicBezTo>
                  <a:cubicBezTo>
                    <a:pt x="453" y="477"/>
                    <a:pt x="469" y="494"/>
                    <a:pt x="479" y="5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29" name="Freeform 9"/>
            <p:cNvSpPr>
              <a:spLocks noEditPoints="1"/>
            </p:cNvSpPr>
            <p:nvPr/>
          </p:nvSpPr>
          <p:spPr bwMode="auto">
            <a:xfrm>
              <a:off x="8639930" y="247880"/>
              <a:ext cx="86577" cy="104337"/>
            </a:xfrm>
            <a:custGeom>
              <a:avLst/>
              <a:gdLst>
                <a:gd name="T0" fmla="*/ 0 w 434"/>
                <a:gd name="T1" fmla="*/ 508 h 519"/>
                <a:gd name="T2" fmla="*/ 33 w 434"/>
                <a:gd name="T3" fmla="*/ 434 h 519"/>
                <a:gd name="T4" fmla="*/ 34 w 434"/>
                <a:gd name="T5" fmla="*/ 55 h 519"/>
                <a:gd name="T6" fmla="*/ 9 w 434"/>
                <a:gd name="T7" fmla="*/ 12 h 519"/>
                <a:gd name="T8" fmla="*/ 3 w 434"/>
                <a:gd name="T9" fmla="*/ 0 h 519"/>
                <a:gd name="T10" fmla="*/ 391 w 434"/>
                <a:gd name="T11" fmla="*/ 0 h 519"/>
                <a:gd name="T12" fmla="*/ 391 w 434"/>
                <a:gd name="T13" fmla="*/ 107 h 519"/>
                <a:gd name="T14" fmla="*/ 359 w 434"/>
                <a:gd name="T15" fmla="*/ 89 h 519"/>
                <a:gd name="T16" fmla="*/ 274 w 434"/>
                <a:gd name="T17" fmla="*/ 29 h 519"/>
                <a:gd name="T18" fmla="*/ 178 w 434"/>
                <a:gd name="T19" fmla="*/ 29 h 519"/>
                <a:gd name="T20" fmla="*/ 145 w 434"/>
                <a:gd name="T21" fmla="*/ 60 h 519"/>
                <a:gd name="T22" fmla="*/ 145 w 434"/>
                <a:gd name="T23" fmla="*/ 175 h 519"/>
                <a:gd name="T24" fmla="*/ 148 w 434"/>
                <a:gd name="T25" fmla="*/ 182 h 519"/>
                <a:gd name="T26" fmla="*/ 275 w 434"/>
                <a:gd name="T27" fmla="*/ 190 h 519"/>
                <a:gd name="T28" fmla="*/ 399 w 434"/>
                <a:gd name="T29" fmla="*/ 255 h 519"/>
                <a:gd name="T30" fmla="*/ 354 w 434"/>
                <a:gd name="T31" fmla="*/ 489 h 519"/>
                <a:gd name="T32" fmla="*/ 258 w 434"/>
                <a:gd name="T33" fmla="*/ 515 h 519"/>
                <a:gd name="T34" fmla="*/ 18 w 434"/>
                <a:gd name="T35" fmla="*/ 516 h 519"/>
                <a:gd name="T36" fmla="*/ 6 w 434"/>
                <a:gd name="T37" fmla="*/ 514 h 519"/>
                <a:gd name="T38" fmla="*/ 0 w 434"/>
                <a:gd name="T39" fmla="*/ 508 h 519"/>
                <a:gd name="T40" fmla="*/ 145 w 434"/>
                <a:gd name="T41" fmla="*/ 210 h 519"/>
                <a:gd name="T42" fmla="*/ 145 w 434"/>
                <a:gd name="T43" fmla="*/ 410 h 519"/>
                <a:gd name="T44" fmla="*/ 225 w 434"/>
                <a:gd name="T45" fmla="*/ 485 h 519"/>
                <a:gd name="T46" fmla="*/ 287 w 434"/>
                <a:gd name="T47" fmla="*/ 442 h 519"/>
                <a:gd name="T48" fmla="*/ 296 w 434"/>
                <a:gd name="T49" fmla="*/ 281 h 519"/>
                <a:gd name="T50" fmla="*/ 245 w 434"/>
                <a:gd name="T51" fmla="*/ 224 h 519"/>
                <a:gd name="T52" fmla="*/ 145 w 434"/>
                <a:gd name="T53" fmla="*/ 210 h 5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34" h="519">
                  <a:moveTo>
                    <a:pt x="0" y="508"/>
                  </a:moveTo>
                  <a:cubicBezTo>
                    <a:pt x="44" y="495"/>
                    <a:pt x="33" y="462"/>
                    <a:pt x="33" y="434"/>
                  </a:cubicBezTo>
                  <a:cubicBezTo>
                    <a:pt x="34" y="307"/>
                    <a:pt x="33" y="181"/>
                    <a:pt x="34" y="55"/>
                  </a:cubicBezTo>
                  <a:cubicBezTo>
                    <a:pt x="34" y="35"/>
                    <a:pt x="33" y="17"/>
                    <a:pt x="9" y="12"/>
                  </a:cubicBezTo>
                  <a:cubicBezTo>
                    <a:pt x="7" y="11"/>
                    <a:pt x="6" y="6"/>
                    <a:pt x="3" y="0"/>
                  </a:cubicBezTo>
                  <a:cubicBezTo>
                    <a:pt x="134" y="0"/>
                    <a:pt x="262" y="0"/>
                    <a:pt x="391" y="0"/>
                  </a:cubicBezTo>
                  <a:cubicBezTo>
                    <a:pt x="391" y="35"/>
                    <a:pt x="391" y="71"/>
                    <a:pt x="391" y="107"/>
                  </a:cubicBezTo>
                  <a:cubicBezTo>
                    <a:pt x="373" y="114"/>
                    <a:pt x="365" y="107"/>
                    <a:pt x="359" y="89"/>
                  </a:cubicBezTo>
                  <a:cubicBezTo>
                    <a:pt x="340" y="36"/>
                    <a:pt x="330" y="29"/>
                    <a:pt x="274" y="29"/>
                  </a:cubicBezTo>
                  <a:cubicBezTo>
                    <a:pt x="242" y="29"/>
                    <a:pt x="210" y="30"/>
                    <a:pt x="178" y="29"/>
                  </a:cubicBezTo>
                  <a:cubicBezTo>
                    <a:pt x="156" y="29"/>
                    <a:pt x="145" y="37"/>
                    <a:pt x="145" y="60"/>
                  </a:cubicBezTo>
                  <a:cubicBezTo>
                    <a:pt x="145" y="98"/>
                    <a:pt x="145" y="137"/>
                    <a:pt x="145" y="175"/>
                  </a:cubicBezTo>
                  <a:cubicBezTo>
                    <a:pt x="145" y="177"/>
                    <a:pt x="147" y="180"/>
                    <a:pt x="148" y="182"/>
                  </a:cubicBezTo>
                  <a:cubicBezTo>
                    <a:pt x="190" y="185"/>
                    <a:pt x="233" y="185"/>
                    <a:pt x="275" y="190"/>
                  </a:cubicBezTo>
                  <a:cubicBezTo>
                    <a:pt x="324" y="195"/>
                    <a:pt x="372" y="208"/>
                    <a:pt x="399" y="255"/>
                  </a:cubicBezTo>
                  <a:cubicBezTo>
                    <a:pt x="434" y="315"/>
                    <a:pt x="429" y="452"/>
                    <a:pt x="354" y="489"/>
                  </a:cubicBezTo>
                  <a:cubicBezTo>
                    <a:pt x="325" y="503"/>
                    <a:pt x="291" y="514"/>
                    <a:pt x="258" y="515"/>
                  </a:cubicBezTo>
                  <a:cubicBezTo>
                    <a:pt x="179" y="519"/>
                    <a:pt x="98" y="516"/>
                    <a:pt x="18" y="516"/>
                  </a:cubicBezTo>
                  <a:cubicBezTo>
                    <a:pt x="14" y="516"/>
                    <a:pt x="10" y="515"/>
                    <a:pt x="6" y="514"/>
                  </a:cubicBezTo>
                  <a:cubicBezTo>
                    <a:pt x="4" y="512"/>
                    <a:pt x="2" y="510"/>
                    <a:pt x="0" y="508"/>
                  </a:cubicBezTo>
                  <a:close/>
                  <a:moveTo>
                    <a:pt x="145" y="210"/>
                  </a:moveTo>
                  <a:cubicBezTo>
                    <a:pt x="145" y="282"/>
                    <a:pt x="145" y="346"/>
                    <a:pt x="145" y="410"/>
                  </a:cubicBezTo>
                  <a:cubicBezTo>
                    <a:pt x="145" y="486"/>
                    <a:pt x="149" y="490"/>
                    <a:pt x="225" y="485"/>
                  </a:cubicBezTo>
                  <a:cubicBezTo>
                    <a:pt x="254" y="483"/>
                    <a:pt x="275" y="469"/>
                    <a:pt x="287" y="442"/>
                  </a:cubicBezTo>
                  <a:cubicBezTo>
                    <a:pt x="310" y="389"/>
                    <a:pt x="309" y="335"/>
                    <a:pt x="296" y="281"/>
                  </a:cubicBezTo>
                  <a:cubicBezTo>
                    <a:pt x="290" y="255"/>
                    <a:pt x="272" y="231"/>
                    <a:pt x="245" y="224"/>
                  </a:cubicBezTo>
                  <a:cubicBezTo>
                    <a:pt x="214" y="217"/>
                    <a:pt x="181" y="215"/>
                    <a:pt x="145" y="2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30" name="Freeform 10"/>
            <p:cNvSpPr>
              <a:spLocks noEditPoints="1"/>
            </p:cNvSpPr>
            <p:nvPr/>
          </p:nvSpPr>
          <p:spPr bwMode="auto">
            <a:xfrm>
              <a:off x="8365400" y="247880"/>
              <a:ext cx="84357" cy="105076"/>
            </a:xfrm>
            <a:custGeom>
              <a:avLst/>
              <a:gdLst>
                <a:gd name="T0" fmla="*/ 0 w 418"/>
                <a:gd name="T1" fmla="*/ 510 h 521"/>
                <a:gd name="T2" fmla="*/ 32 w 418"/>
                <a:gd name="T3" fmla="*/ 421 h 521"/>
                <a:gd name="T4" fmla="*/ 32 w 418"/>
                <a:gd name="T5" fmla="*/ 63 h 521"/>
                <a:gd name="T6" fmla="*/ 7 w 418"/>
                <a:gd name="T7" fmla="*/ 12 h 521"/>
                <a:gd name="T8" fmla="*/ 5 w 418"/>
                <a:gd name="T9" fmla="*/ 0 h 521"/>
                <a:gd name="T10" fmla="*/ 388 w 418"/>
                <a:gd name="T11" fmla="*/ 0 h 521"/>
                <a:gd name="T12" fmla="*/ 388 w 418"/>
                <a:gd name="T13" fmla="*/ 108 h 521"/>
                <a:gd name="T14" fmla="*/ 357 w 418"/>
                <a:gd name="T15" fmla="*/ 89 h 521"/>
                <a:gd name="T16" fmla="*/ 278 w 418"/>
                <a:gd name="T17" fmla="*/ 30 h 521"/>
                <a:gd name="T18" fmla="*/ 171 w 418"/>
                <a:gd name="T19" fmla="*/ 30 h 521"/>
                <a:gd name="T20" fmla="*/ 144 w 418"/>
                <a:gd name="T21" fmla="*/ 55 h 521"/>
                <a:gd name="T22" fmla="*/ 144 w 418"/>
                <a:gd name="T23" fmla="*/ 186 h 521"/>
                <a:gd name="T24" fmla="*/ 225 w 418"/>
                <a:gd name="T25" fmla="*/ 186 h 521"/>
                <a:gd name="T26" fmla="*/ 329 w 418"/>
                <a:gd name="T27" fmla="*/ 204 h 521"/>
                <a:gd name="T28" fmla="*/ 415 w 418"/>
                <a:gd name="T29" fmla="*/ 313 h 521"/>
                <a:gd name="T30" fmla="*/ 411 w 418"/>
                <a:gd name="T31" fmla="*/ 400 h 521"/>
                <a:gd name="T32" fmla="*/ 306 w 418"/>
                <a:gd name="T33" fmla="*/ 508 h 521"/>
                <a:gd name="T34" fmla="*/ 7 w 418"/>
                <a:gd name="T35" fmla="*/ 521 h 521"/>
                <a:gd name="T36" fmla="*/ 0 w 418"/>
                <a:gd name="T37" fmla="*/ 510 h 521"/>
                <a:gd name="T38" fmla="*/ 144 w 418"/>
                <a:gd name="T39" fmla="*/ 212 h 521"/>
                <a:gd name="T40" fmla="*/ 144 w 418"/>
                <a:gd name="T41" fmla="*/ 414 h 521"/>
                <a:gd name="T42" fmla="*/ 216 w 418"/>
                <a:gd name="T43" fmla="*/ 486 h 521"/>
                <a:gd name="T44" fmla="*/ 291 w 418"/>
                <a:gd name="T45" fmla="*/ 430 h 521"/>
                <a:gd name="T46" fmla="*/ 293 w 418"/>
                <a:gd name="T47" fmla="*/ 282 h 521"/>
                <a:gd name="T48" fmla="*/ 243 w 418"/>
                <a:gd name="T49" fmla="*/ 225 h 521"/>
                <a:gd name="T50" fmla="*/ 144 w 418"/>
                <a:gd name="T51" fmla="*/ 212 h 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18" h="521">
                  <a:moveTo>
                    <a:pt x="0" y="510"/>
                  </a:moveTo>
                  <a:cubicBezTo>
                    <a:pt x="47" y="491"/>
                    <a:pt x="31" y="453"/>
                    <a:pt x="32" y="421"/>
                  </a:cubicBezTo>
                  <a:cubicBezTo>
                    <a:pt x="33" y="302"/>
                    <a:pt x="32" y="182"/>
                    <a:pt x="32" y="63"/>
                  </a:cubicBezTo>
                  <a:cubicBezTo>
                    <a:pt x="32" y="42"/>
                    <a:pt x="34" y="20"/>
                    <a:pt x="7" y="12"/>
                  </a:cubicBezTo>
                  <a:cubicBezTo>
                    <a:pt x="6" y="11"/>
                    <a:pt x="6" y="5"/>
                    <a:pt x="5" y="0"/>
                  </a:cubicBezTo>
                  <a:cubicBezTo>
                    <a:pt x="133" y="0"/>
                    <a:pt x="259" y="0"/>
                    <a:pt x="388" y="0"/>
                  </a:cubicBezTo>
                  <a:cubicBezTo>
                    <a:pt x="388" y="36"/>
                    <a:pt x="388" y="72"/>
                    <a:pt x="388" y="108"/>
                  </a:cubicBezTo>
                  <a:cubicBezTo>
                    <a:pt x="369" y="115"/>
                    <a:pt x="362" y="108"/>
                    <a:pt x="357" y="89"/>
                  </a:cubicBezTo>
                  <a:cubicBezTo>
                    <a:pt x="345" y="45"/>
                    <a:pt x="324" y="30"/>
                    <a:pt x="278" y="30"/>
                  </a:cubicBezTo>
                  <a:cubicBezTo>
                    <a:pt x="243" y="30"/>
                    <a:pt x="207" y="30"/>
                    <a:pt x="171" y="30"/>
                  </a:cubicBezTo>
                  <a:cubicBezTo>
                    <a:pt x="154" y="30"/>
                    <a:pt x="144" y="37"/>
                    <a:pt x="144" y="55"/>
                  </a:cubicBezTo>
                  <a:cubicBezTo>
                    <a:pt x="144" y="97"/>
                    <a:pt x="144" y="140"/>
                    <a:pt x="144" y="186"/>
                  </a:cubicBezTo>
                  <a:cubicBezTo>
                    <a:pt x="172" y="186"/>
                    <a:pt x="199" y="184"/>
                    <a:pt x="225" y="186"/>
                  </a:cubicBezTo>
                  <a:cubicBezTo>
                    <a:pt x="260" y="190"/>
                    <a:pt x="295" y="194"/>
                    <a:pt x="329" y="204"/>
                  </a:cubicBezTo>
                  <a:cubicBezTo>
                    <a:pt x="383" y="218"/>
                    <a:pt x="409" y="260"/>
                    <a:pt x="415" y="313"/>
                  </a:cubicBezTo>
                  <a:cubicBezTo>
                    <a:pt x="418" y="341"/>
                    <a:pt x="415" y="371"/>
                    <a:pt x="411" y="400"/>
                  </a:cubicBezTo>
                  <a:cubicBezTo>
                    <a:pt x="403" y="461"/>
                    <a:pt x="364" y="502"/>
                    <a:pt x="306" y="508"/>
                  </a:cubicBezTo>
                  <a:cubicBezTo>
                    <a:pt x="207" y="518"/>
                    <a:pt x="107" y="517"/>
                    <a:pt x="7" y="521"/>
                  </a:cubicBezTo>
                  <a:cubicBezTo>
                    <a:pt x="5" y="517"/>
                    <a:pt x="3" y="514"/>
                    <a:pt x="0" y="510"/>
                  </a:cubicBezTo>
                  <a:close/>
                  <a:moveTo>
                    <a:pt x="144" y="212"/>
                  </a:moveTo>
                  <a:cubicBezTo>
                    <a:pt x="144" y="283"/>
                    <a:pt x="144" y="349"/>
                    <a:pt x="144" y="414"/>
                  </a:cubicBezTo>
                  <a:cubicBezTo>
                    <a:pt x="144" y="487"/>
                    <a:pt x="144" y="487"/>
                    <a:pt x="216" y="486"/>
                  </a:cubicBezTo>
                  <a:cubicBezTo>
                    <a:pt x="253" y="485"/>
                    <a:pt x="286" y="465"/>
                    <a:pt x="291" y="430"/>
                  </a:cubicBezTo>
                  <a:cubicBezTo>
                    <a:pt x="297" y="381"/>
                    <a:pt x="296" y="331"/>
                    <a:pt x="293" y="282"/>
                  </a:cubicBezTo>
                  <a:cubicBezTo>
                    <a:pt x="291" y="254"/>
                    <a:pt x="270" y="232"/>
                    <a:pt x="243" y="225"/>
                  </a:cubicBezTo>
                  <a:cubicBezTo>
                    <a:pt x="212" y="217"/>
                    <a:pt x="179" y="216"/>
                    <a:pt x="144" y="2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31" name="Freeform 11"/>
            <p:cNvSpPr>
              <a:spLocks noEditPoints="1"/>
            </p:cNvSpPr>
            <p:nvPr/>
          </p:nvSpPr>
          <p:spPr bwMode="auto">
            <a:xfrm>
              <a:off x="8549653" y="247140"/>
              <a:ext cx="82137" cy="104337"/>
            </a:xfrm>
            <a:custGeom>
              <a:avLst/>
              <a:gdLst>
                <a:gd name="T0" fmla="*/ 149 w 408"/>
                <a:gd name="T1" fmla="*/ 312 h 516"/>
                <a:gd name="T2" fmla="*/ 150 w 408"/>
                <a:gd name="T3" fmla="*/ 477 h 516"/>
                <a:gd name="T4" fmla="*/ 177 w 408"/>
                <a:gd name="T5" fmla="*/ 516 h 516"/>
                <a:gd name="T6" fmla="*/ 1 w 408"/>
                <a:gd name="T7" fmla="*/ 516 h 516"/>
                <a:gd name="T8" fmla="*/ 36 w 408"/>
                <a:gd name="T9" fmla="*/ 407 h 516"/>
                <a:gd name="T10" fmla="*/ 36 w 408"/>
                <a:gd name="T11" fmla="*/ 114 h 516"/>
                <a:gd name="T12" fmla="*/ 0 w 408"/>
                <a:gd name="T13" fmla="*/ 5 h 516"/>
                <a:gd name="T14" fmla="*/ 29 w 408"/>
                <a:gd name="T15" fmla="*/ 1 h 516"/>
                <a:gd name="T16" fmla="*/ 253 w 408"/>
                <a:gd name="T17" fmla="*/ 1 h 516"/>
                <a:gd name="T18" fmla="*/ 318 w 408"/>
                <a:gd name="T19" fmla="*/ 11 h 516"/>
                <a:gd name="T20" fmla="*/ 404 w 408"/>
                <a:gd name="T21" fmla="*/ 129 h 516"/>
                <a:gd name="T22" fmla="*/ 336 w 408"/>
                <a:gd name="T23" fmla="*/ 287 h 516"/>
                <a:gd name="T24" fmla="*/ 237 w 408"/>
                <a:gd name="T25" fmla="*/ 311 h 516"/>
                <a:gd name="T26" fmla="*/ 149 w 408"/>
                <a:gd name="T27" fmla="*/ 312 h 516"/>
                <a:gd name="T28" fmla="*/ 149 w 408"/>
                <a:gd name="T29" fmla="*/ 284 h 516"/>
                <a:gd name="T30" fmla="*/ 194 w 408"/>
                <a:gd name="T31" fmla="*/ 284 h 516"/>
                <a:gd name="T32" fmla="*/ 281 w 408"/>
                <a:gd name="T33" fmla="*/ 216 h 516"/>
                <a:gd name="T34" fmla="*/ 289 w 408"/>
                <a:gd name="T35" fmla="*/ 132 h 516"/>
                <a:gd name="T36" fmla="*/ 171 w 408"/>
                <a:gd name="T37" fmla="*/ 33 h 516"/>
                <a:gd name="T38" fmla="*/ 150 w 408"/>
                <a:gd name="T39" fmla="*/ 56 h 516"/>
                <a:gd name="T40" fmla="*/ 149 w 408"/>
                <a:gd name="T41" fmla="*/ 284 h 5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08" h="516">
                  <a:moveTo>
                    <a:pt x="149" y="312"/>
                  </a:moveTo>
                  <a:cubicBezTo>
                    <a:pt x="149" y="370"/>
                    <a:pt x="147" y="424"/>
                    <a:pt x="150" y="477"/>
                  </a:cubicBezTo>
                  <a:cubicBezTo>
                    <a:pt x="151" y="490"/>
                    <a:pt x="167" y="502"/>
                    <a:pt x="177" y="516"/>
                  </a:cubicBezTo>
                  <a:cubicBezTo>
                    <a:pt x="122" y="516"/>
                    <a:pt x="66" y="516"/>
                    <a:pt x="1" y="516"/>
                  </a:cubicBezTo>
                  <a:cubicBezTo>
                    <a:pt x="54" y="487"/>
                    <a:pt x="36" y="444"/>
                    <a:pt x="36" y="407"/>
                  </a:cubicBezTo>
                  <a:cubicBezTo>
                    <a:pt x="38" y="309"/>
                    <a:pt x="38" y="211"/>
                    <a:pt x="36" y="114"/>
                  </a:cubicBezTo>
                  <a:cubicBezTo>
                    <a:pt x="36" y="77"/>
                    <a:pt x="54" y="33"/>
                    <a:pt x="0" y="5"/>
                  </a:cubicBezTo>
                  <a:cubicBezTo>
                    <a:pt x="16" y="2"/>
                    <a:pt x="23" y="1"/>
                    <a:pt x="29" y="1"/>
                  </a:cubicBezTo>
                  <a:cubicBezTo>
                    <a:pt x="104" y="0"/>
                    <a:pt x="178" y="0"/>
                    <a:pt x="253" y="1"/>
                  </a:cubicBezTo>
                  <a:cubicBezTo>
                    <a:pt x="275" y="1"/>
                    <a:pt x="297" y="5"/>
                    <a:pt x="318" y="11"/>
                  </a:cubicBezTo>
                  <a:cubicBezTo>
                    <a:pt x="375" y="29"/>
                    <a:pt x="400" y="72"/>
                    <a:pt x="404" y="129"/>
                  </a:cubicBezTo>
                  <a:cubicBezTo>
                    <a:pt x="408" y="192"/>
                    <a:pt x="395" y="260"/>
                    <a:pt x="336" y="287"/>
                  </a:cubicBezTo>
                  <a:cubicBezTo>
                    <a:pt x="305" y="301"/>
                    <a:pt x="270" y="307"/>
                    <a:pt x="237" y="311"/>
                  </a:cubicBezTo>
                  <a:cubicBezTo>
                    <a:pt x="209" y="315"/>
                    <a:pt x="180" y="312"/>
                    <a:pt x="149" y="312"/>
                  </a:cubicBezTo>
                  <a:close/>
                  <a:moveTo>
                    <a:pt x="149" y="284"/>
                  </a:moveTo>
                  <a:cubicBezTo>
                    <a:pt x="166" y="284"/>
                    <a:pt x="180" y="284"/>
                    <a:pt x="194" y="284"/>
                  </a:cubicBezTo>
                  <a:cubicBezTo>
                    <a:pt x="245" y="283"/>
                    <a:pt x="270" y="265"/>
                    <a:pt x="281" y="216"/>
                  </a:cubicBezTo>
                  <a:cubicBezTo>
                    <a:pt x="287" y="188"/>
                    <a:pt x="291" y="160"/>
                    <a:pt x="289" y="132"/>
                  </a:cubicBezTo>
                  <a:cubicBezTo>
                    <a:pt x="285" y="54"/>
                    <a:pt x="249" y="25"/>
                    <a:pt x="171" y="33"/>
                  </a:cubicBezTo>
                  <a:cubicBezTo>
                    <a:pt x="163" y="34"/>
                    <a:pt x="150" y="48"/>
                    <a:pt x="150" y="56"/>
                  </a:cubicBezTo>
                  <a:cubicBezTo>
                    <a:pt x="148" y="130"/>
                    <a:pt x="149" y="205"/>
                    <a:pt x="149" y="2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32" name="Freeform 12"/>
            <p:cNvSpPr>
              <a:spLocks noEditPoints="1"/>
            </p:cNvSpPr>
            <p:nvPr/>
          </p:nvSpPr>
          <p:spPr bwMode="auto">
            <a:xfrm>
              <a:off x="8728727" y="247880"/>
              <a:ext cx="96936" cy="104337"/>
            </a:xfrm>
            <a:custGeom>
              <a:avLst/>
              <a:gdLst>
                <a:gd name="T0" fmla="*/ 0 w 479"/>
                <a:gd name="T1" fmla="*/ 517 h 518"/>
                <a:gd name="T2" fmla="*/ 172 w 479"/>
                <a:gd name="T3" fmla="*/ 99 h 518"/>
                <a:gd name="T4" fmla="*/ 183 w 479"/>
                <a:gd name="T5" fmla="*/ 61 h 518"/>
                <a:gd name="T6" fmla="*/ 161 w 479"/>
                <a:gd name="T7" fmla="*/ 13 h 518"/>
                <a:gd name="T8" fmla="*/ 155 w 479"/>
                <a:gd name="T9" fmla="*/ 0 h 518"/>
                <a:gd name="T10" fmla="*/ 297 w 479"/>
                <a:gd name="T11" fmla="*/ 0 h 518"/>
                <a:gd name="T12" fmla="*/ 479 w 479"/>
                <a:gd name="T13" fmla="*/ 516 h 518"/>
                <a:gd name="T14" fmla="*/ 360 w 479"/>
                <a:gd name="T15" fmla="*/ 516 h 518"/>
                <a:gd name="T16" fmla="*/ 307 w 479"/>
                <a:gd name="T17" fmla="*/ 352 h 518"/>
                <a:gd name="T18" fmla="*/ 278 w 479"/>
                <a:gd name="T19" fmla="*/ 329 h 518"/>
                <a:gd name="T20" fmla="*/ 155 w 479"/>
                <a:gd name="T21" fmla="*/ 329 h 518"/>
                <a:gd name="T22" fmla="*/ 125 w 479"/>
                <a:gd name="T23" fmla="*/ 352 h 518"/>
                <a:gd name="T24" fmla="*/ 88 w 479"/>
                <a:gd name="T25" fmla="*/ 498 h 518"/>
                <a:gd name="T26" fmla="*/ 66 w 479"/>
                <a:gd name="T27" fmla="*/ 518 h 518"/>
                <a:gd name="T28" fmla="*/ 0 w 479"/>
                <a:gd name="T29" fmla="*/ 517 h 518"/>
                <a:gd name="T30" fmla="*/ 221 w 479"/>
                <a:gd name="T31" fmla="*/ 91 h 518"/>
                <a:gd name="T32" fmla="*/ 215 w 479"/>
                <a:gd name="T33" fmla="*/ 91 h 518"/>
                <a:gd name="T34" fmla="*/ 144 w 479"/>
                <a:gd name="T35" fmla="*/ 296 h 518"/>
                <a:gd name="T36" fmla="*/ 289 w 479"/>
                <a:gd name="T37" fmla="*/ 296 h 518"/>
                <a:gd name="T38" fmla="*/ 221 w 479"/>
                <a:gd name="T39" fmla="*/ 91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79" h="518">
                  <a:moveTo>
                    <a:pt x="0" y="517"/>
                  </a:moveTo>
                  <a:cubicBezTo>
                    <a:pt x="58" y="376"/>
                    <a:pt x="115" y="238"/>
                    <a:pt x="172" y="99"/>
                  </a:cubicBezTo>
                  <a:cubicBezTo>
                    <a:pt x="177" y="87"/>
                    <a:pt x="181" y="74"/>
                    <a:pt x="183" y="61"/>
                  </a:cubicBezTo>
                  <a:cubicBezTo>
                    <a:pt x="186" y="41"/>
                    <a:pt x="186" y="21"/>
                    <a:pt x="161" y="13"/>
                  </a:cubicBezTo>
                  <a:cubicBezTo>
                    <a:pt x="159" y="13"/>
                    <a:pt x="158" y="6"/>
                    <a:pt x="155" y="0"/>
                  </a:cubicBezTo>
                  <a:cubicBezTo>
                    <a:pt x="205" y="0"/>
                    <a:pt x="253" y="0"/>
                    <a:pt x="297" y="0"/>
                  </a:cubicBezTo>
                  <a:cubicBezTo>
                    <a:pt x="358" y="173"/>
                    <a:pt x="418" y="344"/>
                    <a:pt x="479" y="516"/>
                  </a:cubicBezTo>
                  <a:cubicBezTo>
                    <a:pt x="442" y="516"/>
                    <a:pt x="401" y="516"/>
                    <a:pt x="360" y="516"/>
                  </a:cubicBezTo>
                  <a:cubicBezTo>
                    <a:pt x="342" y="461"/>
                    <a:pt x="324" y="407"/>
                    <a:pt x="307" y="352"/>
                  </a:cubicBezTo>
                  <a:cubicBezTo>
                    <a:pt x="302" y="336"/>
                    <a:pt x="296" y="329"/>
                    <a:pt x="278" y="329"/>
                  </a:cubicBezTo>
                  <a:cubicBezTo>
                    <a:pt x="237" y="331"/>
                    <a:pt x="196" y="331"/>
                    <a:pt x="155" y="329"/>
                  </a:cubicBezTo>
                  <a:cubicBezTo>
                    <a:pt x="137" y="329"/>
                    <a:pt x="129" y="336"/>
                    <a:pt x="125" y="352"/>
                  </a:cubicBezTo>
                  <a:cubicBezTo>
                    <a:pt x="113" y="400"/>
                    <a:pt x="100" y="449"/>
                    <a:pt x="88" y="498"/>
                  </a:cubicBezTo>
                  <a:cubicBezTo>
                    <a:pt x="85" y="510"/>
                    <a:pt x="81" y="518"/>
                    <a:pt x="66" y="518"/>
                  </a:cubicBezTo>
                  <a:cubicBezTo>
                    <a:pt x="43" y="517"/>
                    <a:pt x="20" y="517"/>
                    <a:pt x="0" y="517"/>
                  </a:cubicBezTo>
                  <a:close/>
                  <a:moveTo>
                    <a:pt x="221" y="91"/>
                  </a:moveTo>
                  <a:cubicBezTo>
                    <a:pt x="219" y="91"/>
                    <a:pt x="217" y="91"/>
                    <a:pt x="215" y="91"/>
                  </a:cubicBezTo>
                  <a:cubicBezTo>
                    <a:pt x="191" y="159"/>
                    <a:pt x="168" y="226"/>
                    <a:pt x="144" y="296"/>
                  </a:cubicBezTo>
                  <a:cubicBezTo>
                    <a:pt x="195" y="296"/>
                    <a:pt x="241" y="296"/>
                    <a:pt x="289" y="296"/>
                  </a:cubicBezTo>
                  <a:cubicBezTo>
                    <a:pt x="266" y="226"/>
                    <a:pt x="244" y="159"/>
                    <a:pt x="221" y="9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33" name="Freeform 13"/>
            <p:cNvSpPr>
              <a:spLocks/>
            </p:cNvSpPr>
            <p:nvPr/>
          </p:nvSpPr>
          <p:spPr bwMode="auto">
            <a:xfrm>
              <a:off x="8462337" y="247880"/>
              <a:ext cx="74737" cy="103596"/>
            </a:xfrm>
            <a:custGeom>
              <a:avLst/>
              <a:gdLst>
                <a:gd name="T0" fmla="*/ 0 w 371"/>
                <a:gd name="T1" fmla="*/ 0 h 516"/>
                <a:gd name="T2" fmla="*/ 358 w 371"/>
                <a:gd name="T3" fmla="*/ 0 h 516"/>
                <a:gd name="T4" fmla="*/ 358 w 371"/>
                <a:gd name="T5" fmla="*/ 108 h 516"/>
                <a:gd name="T6" fmla="*/ 328 w 371"/>
                <a:gd name="T7" fmla="*/ 92 h 516"/>
                <a:gd name="T8" fmla="*/ 244 w 371"/>
                <a:gd name="T9" fmla="*/ 30 h 516"/>
                <a:gd name="T10" fmla="*/ 159 w 371"/>
                <a:gd name="T11" fmla="*/ 31 h 516"/>
                <a:gd name="T12" fmla="*/ 140 w 371"/>
                <a:gd name="T13" fmla="*/ 49 h 516"/>
                <a:gd name="T14" fmla="*/ 139 w 371"/>
                <a:gd name="T15" fmla="*/ 220 h 516"/>
                <a:gd name="T16" fmla="*/ 297 w 371"/>
                <a:gd name="T17" fmla="*/ 211 h 516"/>
                <a:gd name="T18" fmla="*/ 297 w 371"/>
                <a:gd name="T19" fmla="*/ 256 h 516"/>
                <a:gd name="T20" fmla="*/ 139 w 371"/>
                <a:gd name="T21" fmla="*/ 247 h 516"/>
                <a:gd name="T22" fmla="*/ 139 w 371"/>
                <a:gd name="T23" fmla="*/ 296 h 516"/>
                <a:gd name="T24" fmla="*/ 139 w 371"/>
                <a:gd name="T25" fmla="*/ 445 h 516"/>
                <a:gd name="T26" fmla="*/ 175 w 371"/>
                <a:gd name="T27" fmla="*/ 485 h 516"/>
                <a:gd name="T28" fmla="*/ 282 w 371"/>
                <a:gd name="T29" fmla="*/ 485 h 516"/>
                <a:gd name="T30" fmla="*/ 328 w 371"/>
                <a:gd name="T31" fmla="*/ 447 h 516"/>
                <a:gd name="T32" fmla="*/ 343 w 371"/>
                <a:gd name="T33" fmla="*/ 400 h 516"/>
                <a:gd name="T34" fmla="*/ 371 w 371"/>
                <a:gd name="T35" fmla="*/ 400 h 516"/>
                <a:gd name="T36" fmla="*/ 371 w 371"/>
                <a:gd name="T37" fmla="*/ 516 h 516"/>
                <a:gd name="T38" fmla="*/ 2 w 371"/>
                <a:gd name="T39" fmla="*/ 516 h 516"/>
                <a:gd name="T40" fmla="*/ 1 w 371"/>
                <a:gd name="T41" fmla="*/ 510 h 516"/>
                <a:gd name="T42" fmla="*/ 28 w 371"/>
                <a:gd name="T43" fmla="*/ 433 h 516"/>
                <a:gd name="T44" fmla="*/ 28 w 371"/>
                <a:gd name="T45" fmla="*/ 65 h 516"/>
                <a:gd name="T46" fmla="*/ 2 w 371"/>
                <a:gd name="T47" fmla="*/ 12 h 516"/>
                <a:gd name="T48" fmla="*/ 0 w 371"/>
                <a:gd name="T49" fmla="*/ 0 h 5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71" h="516">
                  <a:moveTo>
                    <a:pt x="0" y="0"/>
                  </a:moveTo>
                  <a:cubicBezTo>
                    <a:pt x="120" y="0"/>
                    <a:pt x="238" y="0"/>
                    <a:pt x="358" y="0"/>
                  </a:cubicBezTo>
                  <a:cubicBezTo>
                    <a:pt x="358" y="36"/>
                    <a:pt x="358" y="72"/>
                    <a:pt x="358" y="108"/>
                  </a:cubicBezTo>
                  <a:cubicBezTo>
                    <a:pt x="341" y="114"/>
                    <a:pt x="333" y="109"/>
                    <a:pt x="328" y="92"/>
                  </a:cubicBezTo>
                  <a:cubicBezTo>
                    <a:pt x="313" y="40"/>
                    <a:pt x="298" y="30"/>
                    <a:pt x="244" y="30"/>
                  </a:cubicBezTo>
                  <a:cubicBezTo>
                    <a:pt x="216" y="30"/>
                    <a:pt x="187" y="29"/>
                    <a:pt x="159" y="31"/>
                  </a:cubicBezTo>
                  <a:cubicBezTo>
                    <a:pt x="152" y="32"/>
                    <a:pt x="140" y="42"/>
                    <a:pt x="140" y="49"/>
                  </a:cubicBezTo>
                  <a:cubicBezTo>
                    <a:pt x="139" y="104"/>
                    <a:pt x="139" y="159"/>
                    <a:pt x="139" y="220"/>
                  </a:cubicBezTo>
                  <a:cubicBezTo>
                    <a:pt x="193" y="217"/>
                    <a:pt x="244" y="214"/>
                    <a:pt x="297" y="211"/>
                  </a:cubicBezTo>
                  <a:cubicBezTo>
                    <a:pt x="297" y="224"/>
                    <a:pt x="297" y="241"/>
                    <a:pt x="297" y="256"/>
                  </a:cubicBezTo>
                  <a:cubicBezTo>
                    <a:pt x="247" y="253"/>
                    <a:pt x="195" y="250"/>
                    <a:pt x="139" y="247"/>
                  </a:cubicBezTo>
                  <a:cubicBezTo>
                    <a:pt x="139" y="266"/>
                    <a:pt x="139" y="281"/>
                    <a:pt x="139" y="296"/>
                  </a:cubicBezTo>
                  <a:cubicBezTo>
                    <a:pt x="139" y="346"/>
                    <a:pt x="140" y="395"/>
                    <a:pt x="139" y="445"/>
                  </a:cubicBezTo>
                  <a:cubicBezTo>
                    <a:pt x="138" y="472"/>
                    <a:pt x="152" y="484"/>
                    <a:pt x="175" y="485"/>
                  </a:cubicBezTo>
                  <a:cubicBezTo>
                    <a:pt x="210" y="487"/>
                    <a:pt x="246" y="487"/>
                    <a:pt x="282" y="485"/>
                  </a:cubicBezTo>
                  <a:cubicBezTo>
                    <a:pt x="305" y="484"/>
                    <a:pt x="321" y="470"/>
                    <a:pt x="328" y="447"/>
                  </a:cubicBezTo>
                  <a:cubicBezTo>
                    <a:pt x="333" y="431"/>
                    <a:pt x="338" y="416"/>
                    <a:pt x="343" y="400"/>
                  </a:cubicBezTo>
                  <a:cubicBezTo>
                    <a:pt x="352" y="400"/>
                    <a:pt x="361" y="400"/>
                    <a:pt x="371" y="400"/>
                  </a:cubicBezTo>
                  <a:cubicBezTo>
                    <a:pt x="371" y="439"/>
                    <a:pt x="371" y="477"/>
                    <a:pt x="371" y="516"/>
                  </a:cubicBezTo>
                  <a:cubicBezTo>
                    <a:pt x="247" y="516"/>
                    <a:pt x="124" y="516"/>
                    <a:pt x="2" y="516"/>
                  </a:cubicBezTo>
                  <a:cubicBezTo>
                    <a:pt x="2" y="513"/>
                    <a:pt x="0" y="510"/>
                    <a:pt x="1" y="510"/>
                  </a:cubicBezTo>
                  <a:cubicBezTo>
                    <a:pt x="31" y="492"/>
                    <a:pt x="28" y="462"/>
                    <a:pt x="28" y="433"/>
                  </a:cubicBezTo>
                  <a:cubicBezTo>
                    <a:pt x="27" y="311"/>
                    <a:pt x="27" y="188"/>
                    <a:pt x="28" y="65"/>
                  </a:cubicBezTo>
                  <a:cubicBezTo>
                    <a:pt x="28" y="43"/>
                    <a:pt x="28" y="22"/>
                    <a:pt x="2" y="12"/>
                  </a:cubicBezTo>
                  <a:cubicBezTo>
                    <a:pt x="1" y="12"/>
                    <a:pt x="1" y="6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34" name="Freeform 14"/>
            <p:cNvSpPr>
              <a:spLocks/>
            </p:cNvSpPr>
            <p:nvPr/>
          </p:nvSpPr>
          <p:spPr bwMode="auto">
            <a:xfrm>
              <a:off x="8269943" y="244920"/>
              <a:ext cx="86577" cy="109516"/>
            </a:xfrm>
            <a:custGeom>
              <a:avLst/>
              <a:gdLst>
                <a:gd name="T0" fmla="*/ 413 w 430"/>
                <a:gd name="T1" fmla="*/ 130 h 544"/>
                <a:gd name="T2" fmla="*/ 376 w 430"/>
                <a:gd name="T3" fmla="*/ 110 h 544"/>
                <a:gd name="T4" fmla="*/ 283 w 430"/>
                <a:gd name="T5" fmla="*/ 37 h 544"/>
                <a:gd name="T6" fmla="*/ 157 w 430"/>
                <a:gd name="T7" fmla="*/ 92 h 544"/>
                <a:gd name="T8" fmla="*/ 132 w 430"/>
                <a:gd name="T9" fmla="*/ 175 h 544"/>
                <a:gd name="T10" fmla="*/ 146 w 430"/>
                <a:gd name="T11" fmla="*/ 403 h 544"/>
                <a:gd name="T12" fmla="*/ 309 w 430"/>
                <a:gd name="T13" fmla="*/ 494 h 544"/>
                <a:gd name="T14" fmla="*/ 418 w 430"/>
                <a:gd name="T15" fmla="*/ 471 h 544"/>
                <a:gd name="T16" fmla="*/ 430 w 430"/>
                <a:gd name="T17" fmla="*/ 493 h 544"/>
                <a:gd name="T18" fmla="*/ 306 w 430"/>
                <a:gd name="T19" fmla="*/ 537 h 544"/>
                <a:gd name="T20" fmla="*/ 137 w 430"/>
                <a:gd name="T21" fmla="*/ 521 h 544"/>
                <a:gd name="T22" fmla="*/ 21 w 430"/>
                <a:gd name="T23" fmla="*/ 387 h 544"/>
                <a:gd name="T24" fmla="*/ 23 w 430"/>
                <a:gd name="T25" fmla="*/ 157 h 544"/>
                <a:gd name="T26" fmla="*/ 195 w 430"/>
                <a:gd name="T27" fmla="*/ 9 h 544"/>
                <a:gd name="T28" fmla="*/ 393 w 430"/>
                <a:gd name="T29" fmla="*/ 20 h 544"/>
                <a:gd name="T30" fmla="*/ 413 w 430"/>
                <a:gd name="T31" fmla="*/ 44 h 544"/>
                <a:gd name="T32" fmla="*/ 413 w 430"/>
                <a:gd name="T33" fmla="*/ 130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30" h="544">
                  <a:moveTo>
                    <a:pt x="413" y="130"/>
                  </a:moveTo>
                  <a:cubicBezTo>
                    <a:pt x="390" y="137"/>
                    <a:pt x="381" y="130"/>
                    <a:pt x="376" y="110"/>
                  </a:cubicBezTo>
                  <a:cubicBezTo>
                    <a:pt x="364" y="59"/>
                    <a:pt x="336" y="39"/>
                    <a:pt x="283" y="37"/>
                  </a:cubicBezTo>
                  <a:cubicBezTo>
                    <a:pt x="231" y="34"/>
                    <a:pt x="183" y="43"/>
                    <a:pt x="157" y="92"/>
                  </a:cubicBezTo>
                  <a:cubicBezTo>
                    <a:pt x="144" y="118"/>
                    <a:pt x="137" y="147"/>
                    <a:pt x="132" y="175"/>
                  </a:cubicBezTo>
                  <a:cubicBezTo>
                    <a:pt x="120" y="252"/>
                    <a:pt x="121" y="329"/>
                    <a:pt x="146" y="403"/>
                  </a:cubicBezTo>
                  <a:cubicBezTo>
                    <a:pt x="170" y="474"/>
                    <a:pt x="233" y="505"/>
                    <a:pt x="309" y="494"/>
                  </a:cubicBezTo>
                  <a:cubicBezTo>
                    <a:pt x="345" y="488"/>
                    <a:pt x="380" y="479"/>
                    <a:pt x="418" y="471"/>
                  </a:cubicBezTo>
                  <a:cubicBezTo>
                    <a:pt x="420" y="475"/>
                    <a:pt x="424" y="483"/>
                    <a:pt x="430" y="493"/>
                  </a:cubicBezTo>
                  <a:cubicBezTo>
                    <a:pt x="392" y="520"/>
                    <a:pt x="350" y="532"/>
                    <a:pt x="306" y="537"/>
                  </a:cubicBezTo>
                  <a:cubicBezTo>
                    <a:pt x="249" y="544"/>
                    <a:pt x="191" y="544"/>
                    <a:pt x="137" y="521"/>
                  </a:cubicBezTo>
                  <a:cubicBezTo>
                    <a:pt x="76" y="496"/>
                    <a:pt x="38" y="449"/>
                    <a:pt x="21" y="387"/>
                  </a:cubicBezTo>
                  <a:cubicBezTo>
                    <a:pt x="0" y="311"/>
                    <a:pt x="1" y="234"/>
                    <a:pt x="23" y="157"/>
                  </a:cubicBezTo>
                  <a:cubicBezTo>
                    <a:pt x="49" y="71"/>
                    <a:pt x="108" y="21"/>
                    <a:pt x="195" y="9"/>
                  </a:cubicBezTo>
                  <a:cubicBezTo>
                    <a:pt x="261" y="0"/>
                    <a:pt x="328" y="1"/>
                    <a:pt x="393" y="20"/>
                  </a:cubicBezTo>
                  <a:cubicBezTo>
                    <a:pt x="408" y="24"/>
                    <a:pt x="414" y="29"/>
                    <a:pt x="413" y="44"/>
                  </a:cubicBezTo>
                  <a:cubicBezTo>
                    <a:pt x="412" y="73"/>
                    <a:pt x="413" y="101"/>
                    <a:pt x="413" y="1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35" name="Freeform 15"/>
            <p:cNvSpPr>
              <a:spLocks/>
            </p:cNvSpPr>
            <p:nvPr/>
          </p:nvSpPr>
          <p:spPr bwMode="auto">
            <a:xfrm>
              <a:off x="8949979" y="247880"/>
              <a:ext cx="34779" cy="103596"/>
            </a:xfrm>
            <a:custGeom>
              <a:avLst/>
              <a:gdLst>
                <a:gd name="T0" fmla="*/ 0 w 174"/>
                <a:gd name="T1" fmla="*/ 0 h 514"/>
                <a:gd name="T2" fmla="*/ 168 w 174"/>
                <a:gd name="T3" fmla="*/ 0 h 514"/>
                <a:gd name="T4" fmla="*/ 169 w 174"/>
                <a:gd name="T5" fmla="*/ 9 h 514"/>
                <a:gd name="T6" fmla="*/ 142 w 174"/>
                <a:gd name="T7" fmla="*/ 75 h 514"/>
                <a:gd name="T8" fmla="*/ 142 w 174"/>
                <a:gd name="T9" fmla="*/ 443 h 514"/>
                <a:gd name="T10" fmla="*/ 174 w 174"/>
                <a:gd name="T11" fmla="*/ 508 h 514"/>
                <a:gd name="T12" fmla="*/ 169 w 174"/>
                <a:gd name="T13" fmla="*/ 514 h 514"/>
                <a:gd name="T14" fmla="*/ 4 w 174"/>
                <a:gd name="T15" fmla="*/ 514 h 514"/>
                <a:gd name="T16" fmla="*/ 4 w 174"/>
                <a:gd name="T17" fmla="*/ 508 h 514"/>
                <a:gd name="T18" fmla="*/ 30 w 174"/>
                <a:gd name="T19" fmla="*/ 449 h 514"/>
                <a:gd name="T20" fmla="*/ 30 w 174"/>
                <a:gd name="T21" fmla="*/ 57 h 514"/>
                <a:gd name="T22" fmla="*/ 7 w 174"/>
                <a:gd name="T23" fmla="*/ 13 h 514"/>
                <a:gd name="T24" fmla="*/ 0 w 174"/>
                <a:gd name="T25" fmla="*/ 0 h 5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4" h="514">
                  <a:moveTo>
                    <a:pt x="0" y="0"/>
                  </a:moveTo>
                  <a:cubicBezTo>
                    <a:pt x="59" y="0"/>
                    <a:pt x="113" y="0"/>
                    <a:pt x="168" y="0"/>
                  </a:cubicBezTo>
                  <a:cubicBezTo>
                    <a:pt x="168" y="4"/>
                    <a:pt x="169" y="8"/>
                    <a:pt x="169" y="9"/>
                  </a:cubicBezTo>
                  <a:cubicBezTo>
                    <a:pt x="141" y="23"/>
                    <a:pt x="142" y="48"/>
                    <a:pt x="142" y="75"/>
                  </a:cubicBezTo>
                  <a:cubicBezTo>
                    <a:pt x="142" y="197"/>
                    <a:pt x="142" y="320"/>
                    <a:pt x="142" y="443"/>
                  </a:cubicBezTo>
                  <a:cubicBezTo>
                    <a:pt x="142" y="468"/>
                    <a:pt x="135" y="497"/>
                    <a:pt x="174" y="508"/>
                  </a:cubicBezTo>
                  <a:cubicBezTo>
                    <a:pt x="172" y="510"/>
                    <a:pt x="171" y="512"/>
                    <a:pt x="169" y="514"/>
                  </a:cubicBezTo>
                  <a:cubicBezTo>
                    <a:pt x="114" y="514"/>
                    <a:pt x="59" y="514"/>
                    <a:pt x="4" y="514"/>
                  </a:cubicBezTo>
                  <a:cubicBezTo>
                    <a:pt x="4" y="511"/>
                    <a:pt x="3" y="508"/>
                    <a:pt x="4" y="508"/>
                  </a:cubicBezTo>
                  <a:cubicBezTo>
                    <a:pt x="31" y="496"/>
                    <a:pt x="31" y="473"/>
                    <a:pt x="30" y="449"/>
                  </a:cubicBezTo>
                  <a:cubicBezTo>
                    <a:pt x="30" y="318"/>
                    <a:pt x="30" y="188"/>
                    <a:pt x="30" y="57"/>
                  </a:cubicBezTo>
                  <a:cubicBezTo>
                    <a:pt x="30" y="37"/>
                    <a:pt x="30" y="19"/>
                    <a:pt x="7" y="13"/>
                  </a:cubicBezTo>
                  <a:cubicBezTo>
                    <a:pt x="5" y="13"/>
                    <a:pt x="4" y="7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36" name="Freeform 16"/>
            <p:cNvSpPr>
              <a:spLocks/>
            </p:cNvSpPr>
            <p:nvPr/>
          </p:nvSpPr>
          <p:spPr bwMode="auto">
            <a:xfrm>
              <a:off x="8981058" y="247140"/>
              <a:ext cx="65118" cy="106556"/>
            </a:xfrm>
            <a:custGeom>
              <a:avLst/>
              <a:gdLst>
                <a:gd name="T0" fmla="*/ 280 w 324"/>
                <a:gd name="T1" fmla="*/ 0 h 526"/>
                <a:gd name="T2" fmla="*/ 97 w 324"/>
                <a:gd name="T3" fmla="*/ 183 h 526"/>
                <a:gd name="T4" fmla="*/ 96 w 324"/>
                <a:gd name="T5" fmla="*/ 213 h 526"/>
                <a:gd name="T6" fmla="*/ 324 w 324"/>
                <a:gd name="T7" fmla="*/ 519 h 526"/>
                <a:gd name="T8" fmla="*/ 219 w 324"/>
                <a:gd name="T9" fmla="*/ 520 h 526"/>
                <a:gd name="T10" fmla="*/ 135 w 324"/>
                <a:gd name="T11" fmla="*/ 470 h 526"/>
                <a:gd name="T12" fmla="*/ 12 w 324"/>
                <a:gd name="T13" fmla="*/ 271 h 526"/>
                <a:gd name="T14" fmla="*/ 14 w 324"/>
                <a:gd name="T15" fmla="*/ 226 h 526"/>
                <a:gd name="T16" fmla="*/ 168 w 324"/>
                <a:gd name="T17" fmla="*/ 14 h 526"/>
                <a:gd name="T18" fmla="*/ 185 w 324"/>
                <a:gd name="T19" fmla="*/ 1 h 526"/>
                <a:gd name="T20" fmla="*/ 280 w 324"/>
                <a:gd name="T21" fmla="*/ 0 h 5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4" h="526">
                  <a:moveTo>
                    <a:pt x="280" y="0"/>
                  </a:moveTo>
                  <a:cubicBezTo>
                    <a:pt x="219" y="62"/>
                    <a:pt x="158" y="123"/>
                    <a:pt x="97" y="183"/>
                  </a:cubicBezTo>
                  <a:cubicBezTo>
                    <a:pt x="87" y="194"/>
                    <a:pt x="88" y="201"/>
                    <a:pt x="96" y="213"/>
                  </a:cubicBezTo>
                  <a:cubicBezTo>
                    <a:pt x="172" y="314"/>
                    <a:pt x="248" y="417"/>
                    <a:pt x="324" y="519"/>
                  </a:cubicBezTo>
                  <a:cubicBezTo>
                    <a:pt x="292" y="519"/>
                    <a:pt x="255" y="516"/>
                    <a:pt x="219" y="520"/>
                  </a:cubicBezTo>
                  <a:cubicBezTo>
                    <a:pt x="175" y="526"/>
                    <a:pt x="155" y="508"/>
                    <a:pt x="135" y="470"/>
                  </a:cubicBezTo>
                  <a:cubicBezTo>
                    <a:pt x="99" y="401"/>
                    <a:pt x="54" y="337"/>
                    <a:pt x="12" y="271"/>
                  </a:cubicBezTo>
                  <a:cubicBezTo>
                    <a:pt x="1" y="254"/>
                    <a:pt x="0" y="244"/>
                    <a:pt x="14" y="226"/>
                  </a:cubicBezTo>
                  <a:cubicBezTo>
                    <a:pt x="67" y="157"/>
                    <a:pt x="117" y="85"/>
                    <a:pt x="168" y="14"/>
                  </a:cubicBezTo>
                  <a:cubicBezTo>
                    <a:pt x="172" y="8"/>
                    <a:pt x="179" y="1"/>
                    <a:pt x="185" y="1"/>
                  </a:cubicBezTo>
                  <a:cubicBezTo>
                    <a:pt x="218" y="0"/>
                    <a:pt x="250" y="0"/>
                    <a:pt x="28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37" name="Freeform 17"/>
            <p:cNvSpPr>
              <a:spLocks/>
            </p:cNvSpPr>
            <p:nvPr/>
          </p:nvSpPr>
          <p:spPr bwMode="auto">
            <a:xfrm>
              <a:off x="8017613" y="250100"/>
              <a:ext cx="184253" cy="79177"/>
            </a:xfrm>
            <a:custGeom>
              <a:avLst/>
              <a:gdLst>
                <a:gd name="T0" fmla="*/ 15 w 916"/>
                <a:gd name="T1" fmla="*/ 172 h 395"/>
                <a:gd name="T2" fmla="*/ 275 w 916"/>
                <a:gd name="T3" fmla="*/ 322 h 395"/>
                <a:gd name="T4" fmla="*/ 321 w 916"/>
                <a:gd name="T5" fmla="*/ 323 h 395"/>
                <a:gd name="T6" fmla="*/ 863 w 916"/>
                <a:gd name="T7" fmla="*/ 10 h 395"/>
                <a:gd name="T8" fmla="*/ 898 w 916"/>
                <a:gd name="T9" fmla="*/ 17 h 395"/>
                <a:gd name="T10" fmla="*/ 916 w 916"/>
                <a:gd name="T11" fmla="*/ 41 h 395"/>
                <a:gd name="T12" fmla="*/ 783 w 916"/>
                <a:gd name="T13" fmla="*/ 118 h 395"/>
                <a:gd name="T14" fmla="*/ 318 w 916"/>
                <a:gd name="T15" fmla="*/ 386 h 395"/>
                <a:gd name="T16" fmla="*/ 277 w 916"/>
                <a:gd name="T17" fmla="*/ 385 h 395"/>
                <a:gd name="T18" fmla="*/ 20 w 916"/>
                <a:gd name="T19" fmla="*/ 237 h 395"/>
                <a:gd name="T20" fmla="*/ 6 w 916"/>
                <a:gd name="T21" fmla="*/ 206 h 395"/>
                <a:gd name="T22" fmla="*/ 15 w 916"/>
                <a:gd name="T23" fmla="*/ 172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16" h="395">
                  <a:moveTo>
                    <a:pt x="15" y="172"/>
                  </a:moveTo>
                  <a:cubicBezTo>
                    <a:pt x="104" y="223"/>
                    <a:pt x="190" y="273"/>
                    <a:pt x="275" y="322"/>
                  </a:cubicBezTo>
                  <a:cubicBezTo>
                    <a:pt x="291" y="331"/>
                    <a:pt x="303" y="333"/>
                    <a:pt x="321" y="323"/>
                  </a:cubicBezTo>
                  <a:cubicBezTo>
                    <a:pt x="501" y="218"/>
                    <a:pt x="682" y="114"/>
                    <a:pt x="863" y="10"/>
                  </a:cubicBezTo>
                  <a:cubicBezTo>
                    <a:pt x="878" y="2"/>
                    <a:pt x="889" y="0"/>
                    <a:pt x="898" y="17"/>
                  </a:cubicBezTo>
                  <a:cubicBezTo>
                    <a:pt x="902" y="25"/>
                    <a:pt x="908" y="31"/>
                    <a:pt x="916" y="41"/>
                  </a:cubicBezTo>
                  <a:cubicBezTo>
                    <a:pt x="871" y="67"/>
                    <a:pt x="827" y="93"/>
                    <a:pt x="783" y="118"/>
                  </a:cubicBezTo>
                  <a:cubicBezTo>
                    <a:pt x="628" y="207"/>
                    <a:pt x="473" y="296"/>
                    <a:pt x="318" y="386"/>
                  </a:cubicBezTo>
                  <a:cubicBezTo>
                    <a:pt x="302" y="395"/>
                    <a:pt x="291" y="393"/>
                    <a:pt x="277" y="385"/>
                  </a:cubicBezTo>
                  <a:cubicBezTo>
                    <a:pt x="191" y="336"/>
                    <a:pt x="106" y="286"/>
                    <a:pt x="20" y="237"/>
                  </a:cubicBezTo>
                  <a:cubicBezTo>
                    <a:pt x="6" y="230"/>
                    <a:pt x="0" y="222"/>
                    <a:pt x="6" y="206"/>
                  </a:cubicBezTo>
                  <a:cubicBezTo>
                    <a:pt x="10" y="196"/>
                    <a:pt x="12" y="185"/>
                    <a:pt x="15" y="1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38" name="Freeform 18"/>
            <p:cNvSpPr>
              <a:spLocks/>
            </p:cNvSpPr>
            <p:nvPr/>
          </p:nvSpPr>
          <p:spPr bwMode="auto">
            <a:xfrm>
              <a:off x="8023533" y="233081"/>
              <a:ext cx="162794" cy="71037"/>
            </a:xfrm>
            <a:custGeom>
              <a:avLst/>
              <a:gdLst>
                <a:gd name="T0" fmla="*/ 31 w 811"/>
                <a:gd name="T1" fmla="*/ 156 h 352"/>
                <a:gd name="T2" fmla="*/ 252 w 811"/>
                <a:gd name="T3" fmla="*/ 281 h 352"/>
                <a:gd name="T4" fmla="*/ 284 w 811"/>
                <a:gd name="T5" fmla="*/ 283 h 352"/>
                <a:gd name="T6" fmla="*/ 681 w 811"/>
                <a:gd name="T7" fmla="*/ 56 h 352"/>
                <a:gd name="T8" fmla="*/ 738 w 811"/>
                <a:gd name="T9" fmla="*/ 23 h 352"/>
                <a:gd name="T10" fmla="*/ 811 w 811"/>
                <a:gd name="T11" fmla="*/ 42 h 352"/>
                <a:gd name="T12" fmla="*/ 640 w 811"/>
                <a:gd name="T13" fmla="*/ 141 h 352"/>
                <a:gd name="T14" fmla="*/ 300 w 811"/>
                <a:gd name="T15" fmla="*/ 337 h 352"/>
                <a:gd name="T16" fmla="*/ 242 w 811"/>
                <a:gd name="T17" fmla="*/ 339 h 352"/>
                <a:gd name="T18" fmla="*/ 42 w 811"/>
                <a:gd name="T19" fmla="*/ 223 h 352"/>
                <a:gd name="T20" fmla="*/ 31 w 811"/>
                <a:gd name="T21" fmla="*/ 156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11" h="352">
                  <a:moveTo>
                    <a:pt x="31" y="156"/>
                  </a:moveTo>
                  <a:cubicBezTo>
                    <a:pt x="105" y="198"/>
                    <a:pt x="178" y="240"/>
                    <a:pt x="252" y="281"/>
                  </a:cubicBezTo>
                  <a:cubicBezTo>
                    <a:pt x="261" y="286"/>
                    <a:pt x="276" y="287"/>
                    <a:pt x="284" y="283"/>
                  </a:cubicBezTo>
                  <a:cubicBezTo>
                    <a:pt x="417" y="208"/>
                    <a:pt x="549" y="132"/>
                    <a:pt x="681" y="56"/>
                  </a:cubicBezTo>
                  <a:cubicBezTo>
                    <a:pt x="700" y="45"/>
                    <a:pt x="719" y="35"/>
                    <a:pt x="738" y="23"/>
                  </a:cubicBezTo>
                  <a:cubicBezTo>
                    <a:pt x="777" y="0"/>
                    <a:pt x="783" y="2"/>
                    <a:pt x="811" y="42"/>
                  </a:cubicBezTo>
                  <a:cubicBezTo>
                    <a:pt x="754" y="75"/>
                    <a:pt x="697" y="108"/>
                    <a:pt x="640" y="141"/>
                  </a:cubicBezTo>
                  <a:cubicBezTo>
                    <a:pt x="526" y="207"/>
                    <a:pt x="413" y="271"/>
                    <a:pt x="300" y="337"/>
                  </a:cubicBezTo>
                  <a:cubicBezTo>
                    <a:pt x="279" y="349"/>
                    <a:pt x="263" y="352"/>
                    <a:pt x="242" y="339"/>
                  </a:cubicBezTo>
                  <a:cubicBezTo>
                    <a:pt x="176" y="299"/>
                    <a:pt x="109" y="262"/>
                    <a:pt x="42" y="223"/>
                  </a:cubicBezTo>
                  <a:cubicBezTo>
                    <a:pt x="0" y="199"/>
                    <a:pt x="0" y="199"/>
                    <a:pt x="31" y="1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39" name="Freeform 19"/>
            <p:cNvSpPr>
              <a:spLocks/>
            </p:cNvSpPr>
            <p:nvPr/>
          </p:nvSpPr>
          <p:spPr bwMode="auto">
            <a:xfrm>
              <a:off x="8035372" y="219761"/>
              <a:ext cx="132455" cy="58458"/>
            </a:xfrm>
            <a:custGeom>
              <a:avLst/>
              <a:gdLst>
                <a:gd name="T0" fmla="*/ 0 w 660"/>
                <a:gd name="T1" fmla="*/ 174 h 291"/>
                <a:gd name="T2" fmla="*/ 35 w 660"/>
                <a:gd name="T3" fmla="*/ 134 h 291"/>
                <a:gd name="T4" fmla="*/ 182 w 660"/>
                <a:gd name="T5" fmla="*/ 219 h 291"/>
                <a:gd name="T6" fmla="*/ 236 w 660"/>
                <a:gd name="T7" fmla="*/ 220 h 291"/>
                <a:gd name="T8" fmla="*/ 575 w 660"/>
                <a:gd name="T9" fmla="*/ 23 h 291"/>
                <a:gd name="T10" fmla="*/ 660 w 660"/>
                <a:gd name="T11" fmla="*/ 36 h 291"/>
                <a:gd name="T12" fmla="*/ 507 w 660"/>
                <a:gd name="T13" fmla="*/ 124 h 291"/>
                <a:gd name="T14" fmla="*/ 228 w 660"/>
                <a:gd name="T15" fmla="*/ 284 h 291"/>
                <a:gd name="T16" fmla="*/ 195 w 660"/>
                <a:gd name="T17" fmla="*/ 287 h 291"/>
                <a:gd name="T18" fmla="*/ 0 w 660"/>
                <a:gd name="T19" fmla="*/ 174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60" h="291">
                  <a:moveTo>
                    <a:pt x="0" y="174"/>
                  </a:moveTo>
                  <a:cubicBezTo>
                    <a:pt x="12" y="160"/>
                    <a:pt x="24" y="147"/>
                    <a:pt x="35" y="134"/>
                  </a:cubicBezTo>
                  <a:cubicBezTo>
                    <a:pt x="86" y="163"/>
                    <a:pt x="135" y="190"/>
                    <a:pt x="182" y="219"/>
                  </a:cubicBezTo>
                  <a:cubicBezTo>
                    <a:pt x="201" y="231"/>
                    <a:pt x="216" y="231"/>
                    <a:pt x="236" y="220"/>
                  </a:cubicBezTo>
                  <a:cubicBezTo>
                    <a:pt x="349" y="154"/>
                    <a:pt x="463" y="91"/>
                    <a:pt x="575" y="23"/>
                  </a:cubicBezTo>
                  <a:cubicBezTo>
                    <a:pt x="611" y="0"/>
                    <a:pt x="629" y="24"/>
                    <a:pt x="660" y="36"/>
                  </a:cubicBezTo>
                  <a:cubicBezTo>
                    <a:pt x="606" y="67"/>
                    <a:pt x="557" y="95"/>
                    <a:pt x="507" y="124"/>
                  </a:cubicBezTo>
                  <a:cubicBezTo>
                    <a:pt x="414" y="177"/>
                    <a:pt x="322" y="231"/>
                    <a:pt x="228" y="284"/>
                  </a:cubicBezTo>
                  <a:cubicBezTo>
                    <a:pt x="219" y="289"/>
                    <a:pt x="204" y="291"/>
                    <a:pt x="195" y="287"/>
                  </a:cubicBezTo>
                  <a:cubicBezTo>
                    <a:pt x="130" y="251"/>
                    <a:pt x="66" y="213"/>
                    <a:pt x="0" y="17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</p:grpSp>
      <p:sp>
        <p:nvSpPr>
          <p:cNvPr id="3077" name="Заголовок 1"/>
          <p:cNvSpPr>
            <a:spLocks noGrp="1"/>
          </p:cNvSpPr>
          <p:nvPr>
            <p:ph type="title"/>
          </p:nvPr>
        </p:nvSpPr>
        <p:spPr bwMode="auto">
          <a:xfrm>
            <a:off x="322263" y="117475"/>
            <a:ext cx="9923462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60" r:id="rId1"/>
  </p:sldLayoutIdLst>
  <p:timing>
    <p:tnLst>
      <p:par>
        <p:cTn id="1" dur="indefinite" restart="never" nodeType="tmRoot"/>
      </p:par>
    </p:tnLst>
  </p:timing>
  <p:txStyles>
    <p:titleStyle>
      <a:lvl1pPr algn="l" defTabSz="12176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lang="ru-RU" sz="2900" kern="1200">
          <a:solidFill>
            <a:srgbClr val="385723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l" defTabSz="12176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900">
          <a:solidFill>
            <a:srgbClr val="385723"/>
          </a:solidFill>
          <a:latin typeface="Arial" charset="0"/>
          <a:cs typeface="Arial" charset="0"/>
        </a:defRPr>
      </a:lvl2pPr>
      <a:lvl3pPr algn="l" defTabSz="12176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900">
          <a:solidFill>
            <a:srgbClr val="385723"/>
          </a:solidFill>
          <a:latin typeface="Arial" charset="0"/>
          <a:cs typeface="Arial" charset="0"/>
        </a:defRPr>
      </a:lvl3pPr>
      <a:lvl4pPr algn="l" defTabSz="12176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900">
          <a:solidFill>
            <a:srgbClr val="385723"/>
          </a:solidFill>
          <a:latin typeface="Arial" charset="0"/>
          <a:cs typeface="Arial" charset="0"/>
        </a:defRPr>
      </a:lvl4pPr>
      <a:lvl5pPr algn="l" defTabSz="12176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900">
          <a:solidFill>
            <a:srgbClr val="385723"/>
          </a:solidFill>
          <a:latin typeface="Arial" charset="0"/>
          <a:cs typeface="Arial" charset="0"/>
        </a:defRPr>
      </a:lvl5pPr>
      <a:lvl6pPr marL="457200" algn="l" defTabSz="1217613" rtl="0" fontAlgn="base">
        <a:lnSpc>
          <a:spcPct val="90000"/>
        </a:lnSpc>
        <a:spcBef>
          <a:spcPct val="0"/>
        </a:spcBef>
        <a:spcAft>
          <a:spcPct val="0"/>
        </a:spcAft>
        <a:defRPr sz="2900">
          <a:solidFill>
            <a:srgbClr val="385723"/>
          </a:solidFill>
          <a:latin typeface="Arial" charset="0"/>
          <a:cs typeface="Arial" charset="0"/>
        </a:defRPr>
      </a:lvl6pPr>
      <a:lvl7pPr marL="914400" algn="l" defTabSz="1217613" rtl="0" fontAlgn="base">
        <a:lnSpc>
          <a:spcPct val="90000"/>
        </a:lnSpc>
        <a:spcBef>
          <a:spcPct val="0"/>
        </a:spcBef>
        <a:spcAft>
          <a:spcPct val="0"/>
        </a:spcAft>
        <a:defRPr sz="2900">
          <a:solidFill>
            <a:srgbClr val="385723"/>
          </a:solidFill>
          <a:latin typeface="Arial" charset="0"/>
          <a:cs typeface="Arial" charset="0"/>
        </a:defRPr>
      </a:lvl7pPr>
      <a:lvl8pPr marL="1371600" algn="l" defTabSz="1217613" rtl="0" fontAlgn="base">
        <a:lnSpc>
          <a:spcPct val="90000"/>
        </a:lnSpc>
        <a:spcBef>
          <a:spcPct val="0"/>
        </a:spcBef>
        <a:spcAft>
          <a:spcPct val="0"/>
        </a:spcAft>
        <a:defRPr sz="2900">
          <a:solidFill>
            <a:srgbClr val="385723"/>
          </a:solidFill>
          <a:latin typeface="Arial" charset="0"/>
          <a:cs typeface="Arial" charset="0"/>
        </a:defRPr>
      </a:lvl8pPr>
      <a:lvl9pPr marL="1828800" algn="l" defTabSz="1217613" rtl="0" fontAlgn="base">
        <a:lnSpc>
          <a:spcPct val="90000"/>
        </a:lnSpc>
        <a:spcBef>
          <a:spcPct val="0"/>
        </a:spcBef>
        <a:spcAft>
          <a:spcPct val="0"/>
        </a:spcAft>
        <a:defRPr sz="2900">
          <a:solidFill>
            <a:srgbClr val="385723"/>
          </a:solidFill>
          <a:latin typeface="Arial" charset="0"/>
          <a:cs typeface="Arial" charset="0"/>
        </a:defRPr>
      </a:lvl9pPr>
    </p:titleStyle>
    <p:bodyStyle>
      <a:lvl1pPr marL="303213" indent="-303213" algn="l" defTabSz="1217613" rtl="0" eaLnBrk="0" fontAlgn="base" hangingPunct="0">
        <a:lnSpc>
          <a:spcPct val="90000"/>
        </a:lnSpc>
        <a:spcBef>
          <a:spcPts val="1338"/>
        </a:spcBef>
        <a:spcAft>
          <a:spcPct val="0"/>
        </a:spcAft>
        <a:buFont typeface="Arial" charset="0"/>
        <a:buChar char="•"/>
        <a:defRPr sz="3700" kern="1200">
          <a:solidFill>
            <a:schemeClr val="tx1"/>
          </a:solidFill>
          <a:latin typeface="+mn-lt"/>
          <a:ea typeface="+mn-ea"/>
          <a:cs typeface="+mn-cs"/>
        </a:defRPr>
      </a:lvl1pPr>
      <a:lvl2pPr marL="912813" indent="-303213" algn="l" defTabSz="1217613" rtl="0" eaLnBrk="0" fontAlgn="base" hangingPunct="0">
        <a:lnSpc>
          <a:spcPct val="90000"/>
        </a:lnSpc>
        <a:spcBef>
          <a:spcPts val="663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522413" indent="-303213" algn="l" defTabSz="1217613" rtl="0" eaLnBrk="0" fontAlgn="base" hangingPunct="0">
        <a:lnSpc>
          <a:spcPct val="90000"/>
        </a:lnSpc>
        <a:spcBef>
          <a:spcPts val="663"/>
        </a:spcBef>
        <a:spcAft>
          <a:spcPct val="0"/>
        </a:spcAft>
        <a:buFont typeface="Arial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2132013" indent="-303213" algn="l" defTabSz="1217613" rtl="0" eaLnBrk="0" fontAlgn="base" hangingPunct="0">
        <a:lnSpc>
          <a:spcPct val="90000"/>
        </a:lnSpc>
        <a:spcBef>
          <a:spcPts val="663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741613" indent="-303213" algn="l" defTabSz="1217613" rtl="0" eaLnBrk="0" fontAlgn="base" hangingPunct="0">
        <a:lnSpc>
          <a:spcPct val="90000"/>
        </a:lnSpc>
        <a:spcBef>
          <a:spcPts val="663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араллелограмм 6"/>
          <p:cNvSpPr/>
          <p:nvPr/>
        </p:nvSpPr>
        <p:spPr>
          <a:xfrm rot="10800000">
            <a:off x="7029450" y="0"/>
            <a:ext cx="5162550" cy="3028949"/>
          </a:xfrm>
          <a:prstGeom prst="parallelogram">
            <a:avLst>
              <a:gd name="adj" fmla="val 23076"/>
            </a:avLst>
          </a:prstGeom>
          <a:gradFill flip="none" rotWithShape="1">
            <a:gsLst>
              <a:gs pos="49000">
                <a:srgbClr val="A5A1A1"/>
              </a:gs>
              <a:gs pos="0">
                <a:schemeClr val="bg1"/>
              </a:gs>
              <a:gs pos="100000">
                <a:schemeClr val="bg2">
                  <a:lumMod val="50000"/>
                </a:schemeClr>
              </a:gs>
            </a:gsLst>
            <a:lin ang="5400000" scaled="1"/>
            <a:tileRect/>
          </a:gradFill>
          <a:ln w="3175">
            <a:noFill/>
          </a:ln>
          <a:effectLst>
            <a:outerShdw blurRad="88900" dist="38100" dir="2700000" algn="tl" rotWithShape="0">
              <a:schemeClr val="bg2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5" name="Параллелограмм 4"/>
          <p:cNvSpPr/>
          <p:nvPr/>
        </p:nvSpPr>
        <p:spPr>
          <a:xfrm rot="10800000">
            <a:off x="0" y="0"/>
            <a:ext cx="5162550" cy="4762500"/>
          </a:xfrm>
          <a:prstGeom prst="parallelogram">
            <a:avLst>
              <a:gd name="adj" fmla="val 21076"/>
            </a:avLst>
          </a:prstGeom>
          <a:gradFill flip="none" rotWithShape="1">
            <a:gsLst>
              <a:gs pos="50000">
                <a:srgbClr val="A5A1A1"/>
              </a:gs>
              <a:gs pos="0">
                <a:schemeClr val="bg1"/>
              </a:gs>
              <a:gs pos="100000">
                <a:schemeClr val="bg2">
                  <a:lumMod val="50000"/>
                </a:schemeClr>
              </a:gs>
            </a:gsLst>
            <a:lin ang="5400000" scaled="1"/>
            <a:tileRect/>
          </a:gradFill>
          <a:ln w="3175">
            <a:noFill/>
          </a:ln>
          <a:effectLst>
            <a:outerShdw blurRad="88900" dist="38100" dir="2700000" algn="tl" rotWithShape="0">
              <a:schemeClr val="bg2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" name="Блок-схема: данные 1"/>
          <p:cNvSpPr/>
          <p:nvPr/>
        </p:nvSpPr>
        <p:spPr>
          <a:xfrm>
            <a:off x="657225" y="-90488"/>
            <a:ext cx="10515599" cy="6791325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9348"/>
              <a:gd name="connsiteY0" fmla="*/ 10000 h 10000"/>
              <a:gd name="connsiteX1" fmla="*/ 1348 w 9348"/>
              <a:gd name="connsiteY1" fmla="*/ 0 h 10000"/>
              <a:gd name="connsiteX2" fmla="*/ 9348 w 9348"/>
              <a:gd name="connsiteY2" fmla="*/ 0 h 10000"/>
              <a:gd name="connsiteX3" fmla="*/ 7348 w 9348"/>
              <a:gd name="connsiteY3" fmla="*/ 10000 h 10000"/>
              <a:gd name="connsiteX4" fmla="*/ 0 w 9348"/>
              <a:gd name="connsiteY4" fmla="*/ 10000 h 10000"/>
              <a:gd name="connsiteX0" fmla="*/ 0 w 10000"/>
              <a:gd name="connsiteY0" fmla="*/ 10000 h 10018"/>
              <a:gd name="connsiteX1" fmla="*/ 1442 w 10000"/>
              <a:gd name="connsiteY1" fmla="*/ 0 h 10018"/>
              <a:gd name="connsiteX2" fmla="*/ 10000 w 10000"/>
              <a:gd name="connsiteY2" fmla="*/ 0 h 10018"/>
              <a:gd name="connsiteX3" fmla="*/ 8375 w 10000"/>
              <a:gd name="connsiteY3" fmla="*/ 10018 h 10018"/>
              <a:gd name="connsiteX4" fmla="*/ 0 w 10000"/>
              <a:gd name="connsiteY4" fmla="*/ 10000 h 10018"/>
              <a:gd name="connsiteX0" fmla="*/ 0 w 10000"/>
              <a:gd name="connsiteY0" fmla="*/ 10000 h 10001"/>
              <a:gd name="connsiteX1" fmla="*/ 1442 w 10000"/>
              <a:gd name="connsiteY1" fmla="*/ 0 h 10001"/>
              <a:gd name="connsiteX2" fmla="*/ 10000 w 10000"/>
              <a:gd name="connsiteY2" fmla="*/ 0 h 10001"/>
              <a:gd name="connsiteX3" fmla="*/ 8599 w 10000"/>
              <a:gd name="connsiteY3" fmla="*/ 10001 h 10001"/>
              <a:gd name="connsiteX4" fmla="*/ 0 w 10000"/>
              <a:gd name="connsiteY4" fmla="*/ 10000 h 1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1">
                <a:moveTo>
                  <a:pt x="0" y="10000"/>
                </a:moveTo>
                <a:lnTo>
                  <a:pt x="1442" y="0"/>
                </a:lnTo>
                <a:lnTo>
                  <a:pt x="10000" y="0"/>
                </a:lnTo>
                <a:lnTo>
                  <a:pt x="8599" y="10001"/>
                </a:lnTo>
                <a:lnTo>
                  <a:pt x="0" y="10000"/>
                </a:lnTo>
                <a:close/>
              </a:path>
            </a:pathLst>
          </a:custGeom>
          <a:gradFill flip="none" rotWithShape="1">
            <a:gsLst>
              <a:gs pos="78000">
                <a:srgbClr val="5D8F3B"/>
              </a:gs>
              <a:gs pos="100000">
                <a:srgbClr val="537F35"/>
              </a:gs>
              <a:gs pos="31000">
                <a:srgbClr val="6DA945">
                  <a:alpha val="95294"/>
                </a:srgbClr>
              </a:gs>
            </a:gsLst>
            <a:path path="rect">
              <a:fillToRect r="100000" b="100000"/>
            </a:path>
            <a:tileRect l="-100000" t="-100000"/>
          </a:gradFill>
          <a:ln>
            <a:solidFill>
              <a:schemeClr val="accent6">
                <a:lumMod val="75000"/>
                <a:alpha val="81000"/>
              </a:schemeClr>
            </a:solidFill>
          </a:ln>
          <a:effectLst>
            <a:outerShdw blurRad="101600" dist="38100" dir="2700000" algn="tl" rotWithShape="0">
              <a:schemeClr val="tx1">
                <a:alpha val="17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6" name="Параллелограмм 5"/>
          <p:cNvSpPr/>
          <p:nvPr/>
        </p:nvSpPr>
        <p:spPr>
          <a:xfrm>
            <a:off x="-361950" y="1514475"/>
            <a:ext cx="12439649" cy="3421592"/>
          </a:xfrm>
          <a:prstGeom prst="parallelogram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40000"/>
              </a:lnSpc>
            </a:pPr>
            <a:r>
              <a:rPr lang="ru-RU" sz="2800" b="1" dirty="0" smtClean="0">
                <a:latin typeface="Arial Narrow" panose="020B0606020202030204" pitchFamily="34" charset="0"/>
              </a:rPr>
              <a:t>РЕЗУЛЬТАТЫ КОНТРОЛЬНОЙ ДЕЯТЕЛЬНОСТИ </a:t>
            </a:r>
          </a:p>
          <a:p>
            <a:pPr algn="ctr">
              <a:lnSpc>
                <a:spcPct val="140000"/>
              </a:lnSpc>
            </a:pPr>
            <a:r>
              <a:rPr lang="ru-RU" sz="2800" b="1" dirty="0" smtClean="0">
                <a:latin typeface="Arial Narrow" panose="020B0606020202030204" pitchFamily="34" charset="0"/>
              </a:rPr>
              <a:t>В СФЕРЕ ЗАКУПОК УПРАВЛЕНИЯ ФИНАНСОВ ЛИПЕЦКОЙ ОБЛАСТИ ЗА 1 ПОЛУГОДИЕ 2021 ГОДА</a:t>
            </a:r>
            <a:endParaRPr lang="ru-RU" altLang="ru-RU" sz="2800" b="1" dirty="0">
              <a:latin typeface="Arial Narrow" pitchFamily="34" charset="0"/>
              <a:cs typeface="Times New Roman" pitchFamily="18" charset="0"/>
            </a:endParaRP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7785" y="257175"/>
            <a:ext cx="806390" cy="1049302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2581274" y="5347325"/>
            <a:ext cx="8280795" cy="461661"/>
          </a:xfrm>
          <a:prstGeom prst="rect">
            <a:avLst/>
          </a:prstGeom>
          <a:noFill/>
        </p:spPr>
        <p:txBody>
          <a:bodyPr wrap="square" lIns="91424" tIns="45718" rIns="91424" bIns="45718">
            <a:spAutoFit/>
          </a:bodyPr>
          <a:lstStyle>
            <a:defPPr>
              <a:defRPr lang="en-US"/>
            </a:defPPr>
            <a:lvl1pPr>
              <a:defRPr>
                <a:latin typeface="Raleway" panose="020B0503030101060003" pitchFamily="34" charset="0"/>
                <a:ea typeface="Questrial" panose="020B0306030504020204" pitchFamily="34" charset="0"/>
                <a:cs typeface="Questrial" panose="02000000000000000000" pitchFamily="2" charset="0"/>
              </a:defRPr>
            </a:lvl1pPr>
          </a:lstStyle>
          <a:p>
            <a:pPr algn="just">
              <a:defRPr/>
            </a:pPr>
            <a:r>
              <a:rPr lang="ru-RU" sz="2400" b="1" dirty="0" smtClean="0">
                <a:solidFill>
                  <a:schemeClr val="bg1"/>
                </a:solidFill>
                <a:latin typeface="Arial Narrow" panose="020B0606020202030204" pitchFamily="34" charset="0"/>
                <a:cs typeface="Gotham Pro" panose="02000503040000020004" charset="0"/>
              </a:rPr>
              <a:t>                                     07.09.2021</a:t>
            </a:r>
            <a:endParaRPr lang="en-US" sz="2400" b="1" dirty="0">
              <a:solidFill>
                <a:schemeClr val="bg1"/>
              </a:solidFill>
              <a:latin typeface="Arial Narrow" panose="020B0606020202030204" pitchFamily="34" charset="0"/>
              <a:cs typeface="Gotham Pro" panose="020005030400000200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5009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Диаграмма 6"/>
          <p:cNvGraphicFramePr/>
          <p:nvPr>
            <p:extLst>
              <p:ext uri="{D42A27DB-BD31-4B8C-83A1-F6EECF244321}">
                <p14:modId xmlns:p14="http://schemas.microsoft.com/office/powerpoint/2010/main" val="670371344"/>
              </p:ext>
            </p:extLst>
          </p:nvPr>
        </p:nvGraphicFramePr>
        <p:xfrm>
          <a:off x="2023208" y="1257298"/>
          <a:ext cx="8128000" cy="49865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Box 26"/>
          <p:cNvSpPr txBox="1">
            <a:spLocks noChangeArrowheads="1"/>
          </p:cNvSpPr>
          <p:nvPr/>
        </p:nvSpPr>
        <p:spPr bwMode="auto">
          <a:xfrm>
            <a:off x="1327638" y="242713"/>
            <a:ext cx="10705189" cy="6771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ru-RU" sz="1900" b="1" dirty="0" smtClean="0">
                <a:latin typeface="Arial Narrow" pitchFamily="34" charset="0"/>
                <a:cs typeface="Times New Roman" pitchFamily="18" charset="0"/>
              </a:rPr>
              <a:t>Основные нарушения, выявленные управлением финансов области при осуществлении </a:t>
            </a:r>
          </a:p>
          <a:p>
            <a:pPr algn="ctr" eaLnBrk="1" hangingPunct="1"/>
            <a:r>
              <a:rPr lang="ru-RU" altLang="ru-RU" sz="1900" b="1" dirty="0" smtClean="0">
                <a:latin typeface="Arial Narrow" pitchFamily="34" charset="0"/>
                <a:cs typeface="Times New Roman" pitchFamily="18" charset="0"/>
              </a:rPr>
              <a:t>контрольных мероприятий в сфере закупок в отношении областных Заказчиков за </a:t>
            </a:r>
            <a:r>
              <a:rPr lang="en-US" altLang="ru-RU" sz="1900" b="1" dirty="0" smtClean="0">
                <a:latin typeface="Arial Narrow" pitchFamily="34" charset="0"/>
                <a:cs typeface="Times New Roman" pitchFamily="18" charset="0"/>
              </a:rPr>
              <a:t>I</a:t>
            </a:r>
            <a:r>
              <a:rPr lang="ru-RU" altLang="ru-RU" sz="1900" b="1" dirty="0" smtClean="0">
                <a:latin typeface="Arial Narrow" pitchFamily="34" charset="0"/>
                <a:cs typeface="Times New Roman" pitchFamily="18" charset="0"/>
              </a:rPr>
              <a:t> полугодие 2021 года</a:t>
            </a:r>
            <a:endParaRPr lang="ru-RU" altLang="ru-RU" sz="1900" b="1" dirty="0">
              <a:latin typeface="Arial Narrow" pitchFamily="34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756600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Диаграмма 6"/>
          <p:cNvGraphicFramePr/>
          <p:nvPr>
            <p:extLst>
              <p:ext uri="{D42A27DB-BD31-4B8C-83A1-F6EECF244321}">
                <p14:modId xmlns:p14="http://schemas.microsoft.com/office/powerpoint/2010/main" val="3464063503"/>
              </p:ext>
            </p:extLst>
          </p:nvPr>
        </p:nvGraphicFramePr>
        <p:xfrm>
          <a:off x="2032000" y="1151791"/>
          <a:ext cx="8128000" cy="49865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Box 26"/>
          <p:cNvSpPr txBox="1">
            <a:spLocks noChangeArrowheads="1"/>
          </p:cNvSpPr>
          <p:nvPr/>
        </p:nvSpPr>
        <p:spPr bwMode="auto">
          <a:xfrm>
            <a:off x="1327638" y="242713"/>
            <a:ext cx="10705189" cy="6771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ru-RU" sz="1900" b="1" dirty="0" smtClean="0">
                <a:latin typeface="Arial Narrow" pitchFamily="34" charset="0"/>
                <a:cs typeface="Times New Roman" pitchFamily="18" charset="0"/>
              </a:rPr>
              <a:t>Основные нарушения, выявленные управлением финансов области при осуществлении </a:t>
            </a:r>
          </a:p>
          <a:p>
            <a:pPr algn="ctr" eaLnBrk="1" hangingPunct="1"/>
            <a:r>
              <a:rPr lang="ru-RU" altLang="ru-RU" sz="1900" b="1" dirty="0" smtClean="0">
                <a:latin typeface="Arial Narrow" pitchFamily="34" charset="0"/>
                <a:cs typeface="Times New Roman" pitchFamily="18" charset="0"/>
              </a:rPr>
              <a:t>контрольных мероприятий в сфере закупок в отношении областных Заказчиков за </a:t>
            </a:r>
            <a:r>
              <a:rPr lang="en-US" altLang="ru-RU" sz="1900" b="1" dirty="0" smtClean="0">
                <a:latin typeface="Arial Narrow" pitchFamily="34" charset="0"/>
                <a:cs typeface="Times New Roman" pitchFamily="18" charset="0"/>
              </a:rPr>
              <a:t>I</a:t>
            </a:r>
            <a:r>
              <a:rPr lang="ru-RU" altLang="ru-RU" sz="1900" b="1" dirty="0" smtClean="0">
                <a:latin typeface="Arial Narrow" pitchFamily="34" charset="0"/>
                <a:cs typeface="Times New Roman" pitchFamily="18" charset="0"/>
              </a:rPr>
              <a:t> полугодие 2021 года</a:t>
            </a:r>
            <a:endParaRPr lang="ru-RU" altLang="ru-RU" sz="1900" b="1" dirty="0">
              <a:latin typeface="Arial Narrow" pitchFamily="34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610305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араллелограмм 6"/>
          <p:cNvSpPr/>
          <p:nvPr/>
        </p:nvSpPr>
        <p:spPr>
          <a:xfrm rot="10800000">
            <a:off x="7029450" y="0"/>
            <a:ext cx="5162550" cy="3028949"/>
          </a:xfrm>
          <a:prstGeom prst="parallelogram">
            <a:avLst>
              <a:gd name="adj" fmla="val 23076"/>
            </a:avLst>
          </a:prstGeom>
          <a:gradFill flip="none" rotWithShape="1">
            <a:gsLst>
              <a:gs pos="49000">
                <a:srgbClr val="A5A1A1"/>
              </a:gs>
              <a:gs pos="0">
                <a:schemeClr val="bg1"/>
              </a:gs>
              <a:gs pos="100000">
                <a:schemeClr val="bg2">
                  <a:lumMod val="50000"/>
                </a:schemeClr>
              </a:gs>
            </a:gsLst>
            <a:lin ang="5400000" scaled="1"/>
            <a:tileRect/>
          </a:gradFill>
          <a:ln w="3175">
            <a:noFill/>
          </a:ln>
          <a:effectLst>
            <a:outerShdw blurRad="88900" dist="38100" dir="2700000" algn="tl" rotWithShape="0">
              <a:schemeClr val="bg2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5" name="Параллелограмм 4"/>
          <p:cNvSpPr/>
          <p:nvPr/>
        </p:nvSpPr>
        <p:spPr>
          <a:xfrm rot="10800000">
            <a:off x="0" y="0"/>
            <a:ext cx="5162550" cy="4762500"/>
          </a:xfrm>
          <a:prstGeom prst="parallelogram">
            <a:avLst>
              <a:gd name="adj" fmla="val 21076"/>
            </a:avLst>
          </a:prstGeom>
          <a:gradFill flip="none" rotWithShape="1">
            <a:gsLst>
              <a:gs pos="50000">
                <a:srgbClr val="A5A1A1"/>
              </a:gs>
              <a:gs pos="0">
                <a:schemeClr val="bg1"/>
              </a:gs>
              <a:gs pos="100000">
                <a:schemeClr val="bg2">
                  <a:lumMod val="50000"/>
                </a:schemeClr>
              </a:gs>
            </a:gsLst>
            <a:lin ang="5400000" scaled="1"/>
            <a:tileRect/>
          </a:gradFill>
          <a:ln w="3175">
            <a:noFill/>
          </a:ln>
          <a:effectLst>
            <a:outerShdw blurRad="88900" dist="38100" dir="2700000" algn="tl" rotWithShape="0">
              <a:schemeClr val="bg2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" name="Блок-схема: данные 1"/>
          <p:cNvSpPr/>
          <p:nvPr/>
        </p:nvSpPr>
        <p:spPr>
          <a:xfrm>
            <a:off x="660632" y="-59139"/>
            <a:ext cx="10515599" cy="6791325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9348"/>
              <a:gd name="connsiteY0" fmla="*/ 10000 h 10000"/>
              <a:gd name="connsiteX1" fmla="*/ 1348 w 9348"/>
              <a:gd name="connsiteY1" fmla="*/ 0 h 10000"/>
              <a:gd name="connsiteX2" fmla="*/ 9348 w 9348"/>
              <a:gd name="connsiteY2" fmla="*/ 0 h 10000"/>
              <a:gd name="connsiteX3" fmla="*/ 7348 w 9348"/>
              <a:gd name="connsiteY3" fmla="*/ 10000 h 10000"/>
              <a:gd name="connsiteX4" fmla="*/ 0 w 9348"/>
              <a:gd name="connsiteY4" fmla="*/ 10000 h 10000"/>
              <a:gd name="connsiteX0" fmla="*/ 0 w 10000"/>
              <a:gd name="connsiteY0" fmla="*/ 10000 h 10018"/>
              <a:gd name="connsiteX1" fmla="*/ 1442 w 10000"/>
              <a:gd name="connsiteY1" fmla="*/ 0 h 10018"/>
              <a:gd name="connsiteX2" fmla="*/ 10000 w 10000"/>
              <a:gd name="connsiteY2" fmla="*/ 0 h 10018"/>
              <a:gd name="connsiteX3" fmla="*/ 8375 w 10000"/>
              <a:gd name="connsiteY3" fmla="*/ 10018 h 10018"/>
              <a:gd name="connsiteX4" fmla="*/ 0 w 10000"/>
              <a:gd name="connsiteY4" fmla="*/ 10000 h 10018"/>
              <a:gd name="connsiteX0" fmla="*/ 0 w 10000"/>
              <a:gd name="connsiteY0" fmla="*/ 10000 h 10001"/>
              <a:gd name="connsiteX1" fmla="*/ 1442 w 10000"/>
              <a:gd name="connsiteY1" fmla="*/ 0 h 10001"/>
              <a:gd name="connsiteX2" fmla="*/ 10000 w 10000"/>
              <a:gd name="connsiteY2" fmla="*/ 0 h 10001"/>
              <a:gd name="connsiteX3" fmla="*/ 8599 w 10000"/>
              <a:gd name="connsiteY3" fmla="*/ 10001 h 10001"/>
              <a:gd name="connsiteX4" fmla="*/ 0 w 10000"/>
              <a:gd name="connsiteY4" fmla="*/ 10000 h 1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1">
                <a:moveTo>
                  <a:pt x="0" y="10000"/>
                </a:moveTo>
                <a:lnTo>
                  <a:pt x="1442" y="0"/>
                </a:lnTo>
                <a:lnTo>
                  <a:pt x="10000" y="0"/>
                </a:lnTo>
                <a:lnTo>
                  <a:pt x="8599" y="10001"/>
                </a:lnTo>
                <a:lnTo>
                  <a:pt x="0" y="10000"/>
                </a:lnTo>
                <a:close/>
              </a:path>
            </a:pathLst>
          </a:custGeom>
          <a:gradFill flip="none" rotWithShape="1">
            <a:gsLst>
              <a:gs pos="78000">
                <a:srgbClr val="5D8F3B"/>
              </a:gs>
              <a:gs pos="100000">
                <a:srgbClr val="537F35"/>
              </a:gs>
              <a:gs pos="31000">
                <a:srgbClr val="6DA945">
                  <a:alpha val="95294"/>
                </a:srgbClr>
              </a:gs>
            </a:gsLst>
            <a:path path="rect">
              <a:fillToRect r="100000" b="100000"/>
            </a:path>
            <a:tileRect l="-100000" t="-100000"/>
          </a:gradFill>
          <a:ln>
            <a:solidFill>
              <a:schemeClr val="accent6">
                <a:lumMod val="75000"/>
                <a:alpha val="81000"/>
              </a:schemeClr>
            </a:solidFill>
          </a:ln>
          <a:effectLst>
            <a:outerShdw blurRad="38100" dist="38100" dir="2700000" sx="86000" sy="86000" algn="tl" rotWithShape="0">
              <a:schemeClr val="tx1">
                <a:alpha val="17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6" name="Параллелограмм 5"/>
          <p:cNvSpPr/>
          <p:nvPr/>
        </p:nvSpPr>
        <p:spPr>
          <a:xfrm>
            <a:off x="-361950" y="1514475"/>
            <a:ext cx="12439649" cy="3421592"/>
          </a:xfrm>
          <a:prstGeom prst="parallelogram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40000"/>
              </a:lnSpc>
            </a:pPr>
            <a:endParaRPr lang="ru-RU" altLang="ru-RU" sz="3200" b="1" dirty="0">
              <a:latin typeface="Arial Narrow" pitchFamily="34" charset="0"/>
              <a:cs typeface="Times New Roman" pitchFamily="18" charset="0"/>
            </a:endParaRP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7785" y="257175"/>
            <a:ext cx="806390" cy="1049302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2030136" y="188096"/>
            <a:ext cx="7776594" cy="830993"/>
          </a:xfrm>
          <a:prstGeom prst="rect">
            <a:avLst/>
          </a:prstGeom>
          <a:noFill/>
        </p:spPr>
        <p:txBody>
          <a:bodyPr wrap="square" lIns="91424" tIns="45718" rIns="91424" bIns="45718">
            <a:spAutoFit/>
          </a:bodyPr>
          <a:lstStyle>
            <a:defPPr>
              <a:defRPr lang="en-US"/>
            </a:defPPr>
            <a:lvl1pPr>
              <a:defRPr>
                <a:latin typeface="Raleway" panose="020B0503030101060003" pitchFamily="34" charset="0"/>
                <a:ea typeface="Questrial" panose="020B0306030504020204" pitchFamily="34" charset="0"/>
                <a:cs typeface="Questrial" panose="02000000000000000000" pitchFamily="2" charset="0"/>
              </a:defRPr>
            </a:lvl1pPr>
          </a:lstStyle>
          <a:p>
            <a:pPr algn="ctr">
              <a:defRPr/>
            </a:pPr>
            <a:r>
              <a:rPr lang="ru-RU" sz="2400" b="1" dirty="0" smtClean="0">
                <a:solidFill>
                  <a:schemeClr val="bg1"/>
                </a:solidFill>
                <a:latin typeface="Arial Narrow" panose="020B0606020202030204" pitchFamily="34" charset="0"/>
                <a:cs typeface="Gotham Pro" panose="02000503040000020004" charset="0"/>
              </a:rPr>
              <a:t>Требования по срокам </a:t>
            </a:r>
            <a:r>
              <a:rPr lang="ru-RU" sz="2400" b="1" dirty="0">
                <a:solidFill>
                  <a:schemeClr val="bg1"/>
                </a:solidFill>
                <a:latin typeface="Arial Narrow" panose="020B0606020202030204" pitchFamily="34" charset="0"/>
                <a:cs typeface="Gotham Pro" panose="02000503040000020004" charset="0"/>
              </a:rPr>
              <a:t>оплаты </a:t>
            </a:r>
            <a:r>
              <a:rPr lang="ru-RU" sz="2400" b="1" dirty="0" smtClean="0">
                <a:solidFill>
                  <a:schemeClr val="bg1"/>
                </a:solidFill>
                <a:latin typeface="Arial Narrow" panose="020B0606020202030204" pitchFamily="34" charset="0"/>
                <a:cs typeface="Gotham Pro" panose="02000503040000020004" charset="0"/>
              </a:rPr>
              <a:t> в ходе исполнения контракта</a:t>
            </a:r>
            <a:endParaRPr lang="ru-RU" sz="2400" b="1" dirty="0">
              <a:solidFill>
                <a:schemeClr val="bg1"/>
              </a:solidFill>
              <a:latin typeface="Arial Narrow" panose="020B0606020202030204" pitchFamily="34" charset="0"/>
              <a:cs typeface="Gotham Pro" panose="0200050304000002000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406290" y="3336523"/>
            <a:ext cx="9118833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solidFill>
                  <a:schemeClr val="bg1"/>
                </a:solidFill>
              </a:rPr>
              <a:t>Срок оплаты исчисляется </a:t>
            </a:r>
            <a:r>
              <a:rPr lang="ru-RU" sz="1600" b="1" dirty="0">
                <a:solidFill>
                  <a:schemeClr val="bg1"/>
                </a:solidFill>
              </a:rPr>
              <a:t>с даты подписания заказчиком документа о приемке</a:t>
            </a:r>
            <a:r>
              <a:rPr lang="ru-RU" sz="1600" b="1" dirty="0" smtClean="0">
                <a:solidFill>
                  <a:schemeClr val="bg1"/>
                </a:solidFill>
              </a:rPr>
              <a:t>.</a:t>
            </a:r>
          </a:p>
          <a:p>
            <a:r>
              <a:rPr lang="ru-RU" sz="1600" b="1" dirty="0" smtClean="0">
                <a:solidFill>
                  <a:schemeClr val="bg1"/>
                </a:solidFill>
              </a:rPr>
              <a:t>В соответствии с п.8 Постановления </a:t>
            </a:r>
            <a:r>
              <a:rPr lang="ru-RU" sz="1600" b="1" dirty="0">
                <a:solidFill>
                  <a:schemeClr val="bg1"/>
                </a:solidFill>
              </a:rPr>
              <a:t>Пленума ВАС Российской Федерации от 22.06.2006г № </a:t>
            </a:r>
            <a:r>
              <a:rPr lang="ru-RU" sz="1600" b="1" dirty="0" smtClean="0">
                <a:solidFill>
                  <a:schemeClr val="bg1"/>
                </a:solidFill>
              </a:rPr>
              <a:t>21: </a:t>
            </a:r>
            <a:r>
              <a:rPr lang="ru-RU" sz="1600" b="1" i="1" dirty="0">
                <a:solidFill>
                  <a:schemeClr val="bg1"/>
                </a:solidFill>
              </a:rPr>
              <a:t>отсутствие у учреждения денежных средств само по себе нельзя расценивать как принятие </a:t>
            </a:r>
            <a:r>
              <a:rPr lang="ru-RU" sz="1600" b="1" i="1" dirty="0" smtClean="0">
                <a:solidFill>
                  <a:schemeClr val="bg1"/>
                </a:solidFill>
              </a:rPr>
              <a:t>       им </a:t>
            </a:r>
            <a:r>
              <a:rPr lang="ru-RU" sz="1600" b="1" i="1" dirty="0">
                <a:solidFill>
                  <a:schemeClr val="bg1"/>
                </a:solidFill>
              </a:rPr>
              <a:t>всех мер для надлежащего исполнения обязательств. Недофинансирование само по себе не может служить обстоятельством, свидетельствующим об отсутствии вины учреждения.</a:t>
            </a:r>
          </a:p>
          <a:p>
            <a:endParaRPr lang="ru-RU" dirty="0"/>
          </a:p>
        </p:txBody>
      </p:sp>
      <p:sp>
        <p:nvSpPr>
          <p:cNvPr id="4" name="TextBox 3"/>
          <p:cNvSpPr txBox="1"/>
          <p:nvPr/>
        </p:nvSpPr>
        <p:spPr>
          <a:xfrm>
            <a:off x="1330353" y="4762501"/>
            <a:ext cx="8237989" cy="18774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/>
              <a:t>Ответственность</a:t>
            </a:r>
            <a:r>
              <a:rPr lang="ru-RU" sz="2000" dirty="0"/>
              <a:t> – статья 7.32.5 КоАП РФ  </a:t>
            </a:r>
          </a:p>
          <a:p>
            <a:r>
              <a:rPr lang="ru-RU" sz="2400" b="1" dirty="0"/>
              <a:t>Субъект ответственности </a:t>
            </a:r>
            <a:r>
              <a:rPr lang="ru-RU" sz="2000" dirty="0"/>
              <a:t>– должностное лицо</a:t>
            </a:r>
          </a:p>
          <a:p>
            <a:r>
              <a:rPr lang="ru-RU" sz="2400" b="1" dirty="0"/>
              <a:t>Размер штрафа </a:t>
            </a:r>
            <a:r>
              <a:rPr lang="ru-RU" sz="2000" dirty="0"/>
              <a:t>– от 30 до 50 тысяч рублей</a:t>
            </a:r>
          </a:p>
          <a:p>
            <a:r>
              <a:rPr lang="ru-RU" sz="2400" b="1" dirty="0"/>
              <a:t>Повторное совершение правонарушения </a:t>
            </a:r>
            <a:r>
              <a:rPr lang="ru-RU" sz="2000" dirty="0"/>
              <a:t>– дисквалификация на срок от одного до двух лет</a:t>
            </a:r>
          </a:p>
        </p:txBody>
      </p:sp>
      <p:graphicFrame>
        <p:nvGraphicFramePr>
          <p:cNvPr id="11" name="Таблица 10"/>
          <p:cNvGraphicFramePr>
            <a:graphicFrameLocks noGrp="1"/>
          </p:cNvGraphicFramePr>
          <p:nvPr>
            <p:extLst/>
          </p:nvPr>
        </p:nvGraphicFramePr>
        <p:xfrm>
          <a:off x="419098" y="1421130"/>
          <a:ext cx="11344276" cy="1920240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638B1855-1B75-4FBE-930C-398BA8C253C6}</a:tableStyleId>
              </a:tblPr>
              <a:tblGrid>
                <a:gridCol w="283606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3606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83606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83606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dirty="0">
                          <a:solidFill>
                            <a:schemeClr val="bg1"/>
                          </a:solidFill>
                        </a:rPr>
                        <a:t>До 1 января 2022 года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dirty="0">
                          <a:solidFill>
                            <a:schemeClr val="bg1"/>
                          </a:solidFill>
                        </a:rPr>
                        <a:t>С 1 января 2022 года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dirty="0">
                          <a:solidFill>
                            <a:schemeClr val="bg1"/>
                          </a:solidFill>
                        </a:rPr>
                        <a:t>С 1 января 2023 года</a:t>
                      </a:r>
                    </a:p>
                    <a:p>
                      <a:endParaRPr lang="ru-RU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b="1" dirty="0">
                          <a:solidFill>
                            <a:schemeClr val="tx1"/>
                          </a:solidFill>
                        </a:rPr>
                        <a:t>Если контракт заключается с СМП, СОНО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b="1" dirty="0">
                          <a:solidFill>
                            <a:schemeClr val="tx1"/>
                          </a:solidFill>
                        </a:rPr>
                        <a:t>Не более 15 рабочих дней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b="1" dirty="0">
                          <a:solidFill>
                            <a:schemeClr val="tx1"/>
                          </a:solidFill>
                        </a:rPr>
                        <a:t>До 10 рабочих дней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b="1" dirty="0">
                          <a:solidFill>
                            <a:schemeClr val="tx1"/>
                          </a:solidFill>
                        </a:rPr>
                        <a:t>До 7 рабочих дней</a:t>
                      </a:r>
                    </a:p>
                    <a:p>
                      <a:endParaRPr lang="ru-RU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b="1" dirty="0">
                          <a:solidFill>
                            <a:schemeClr val="tx1"/>
                          </a:solidFill>
                        </a:rPr>
                        <a:t>По остальным контрактам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b="1" dirty="0">
                          <a:solidFill>
                            <a:schemeClr val="tx1"/>
                          </a:solidFill>
                        </a:rPr>
                        <a:t>Не более 30 дней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b="1" dirty="0">
                          <a:solidFill>
                            <a:schemeClr val="tx1"/>
                          </a:solidFill>
                        </a:rPr>
                        <a:t>До 15 рабочих дней 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b="1" dirty="0">
                          <a:solidFill>
                            <a:schemeClr val="tx1"/>
                          </a:solidFill>
                        </a:rPr>
                        <a:t>До 10 рабочих дней</a:t>
                      </a:r>
                    </a:p>
                    <a:p>
                      <a:endParaRPr lang="ru-RU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04925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57_Голубые тона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sz="10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0416</TotalTime>
  <Words>243</Words>
  <Application>Microsoft Office PowerPoint</Application>
  <PresentationFormat>Широкоэкранный</PresentationFormat>
  <Paragraphs>29</Paragraphs>
  <Slides>4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4</vt:i4>
      </vt:variant>
    </vt:vector>
  </HeadingPairs>
  <TitlesOfParts>
    <vt:vector size="14" baseType="lpstr">
      <vt:lpstr>Arial</vt:lpstr>
      <vt:lpstr>Arial Narrow</vt:lpstr>
      <vt:lpstr>Calibri</vt:lpstr>
      <vt:lpstr>Calibri Light</vt:lpstr>
      <vt:lpstr>Gotham Pro</vt:lpstr>
      <vt:lpstr>Questrial</vt:lpstr>
      <vt:lpstr>Times New Roman</vt:lpstr>
      <vt:lpstr>Тема Office</vt:lpstr>
      <vt:lpstr>57_Голубые тона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Королёва Ирина Владимировна</dc:creator>
  <cp:lastModifiedBy>623</cp:lastModifiedBy>
  <cp:revision>1048</cp:revision>
  <cp:lastPrinted>2021-08-26T10:57:44Z</cp:lastPrinted>
  <dcterms:created xsi:type="dcterms:W3CDTF">2019-02-08T11:57:28Z</dcterms:created>
  <dcterms:modified xsi:type="dcterms:W3CDTF">2021-09-07T05:26:51Z</dcterms:modified>
</cp:coreProperties>
</file>